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61" r:id="rId5"/>
    <p:sldId id="270" r:id="rId6"/>
    <p:sldId id="266" r:id="rId7"/>
  </p:sldIdLst>
  <p:sldSz cx="12192000" cy="6858000"/>
  <p:notesSz cx="6858000" cy="9698038"/>
  <p:custDataLst>
    <p:tags r:id="rId1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Univer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0EF"/>
    <a:srgbClr val="3C7DC8"/>
    <a:srgbClr val="D73C3C"/>
    <a:srgbClr val="46C81E"/>
    <a:srgbClr val="F5AA00"/>
    <a:srgbClr val="FFFF00"/>
    <a:srgbClr val="D2D3D4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3CD894-33E0-48EF-A989-3D88D084809D}" v="3" dt="2023-04-20T14:41:40.4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00"/>
  </p:normalViewPr>
  <p:slideViewPr>
    <p:cSldViewPr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ereiber, Bruna" userId="db59a668-f45f-46a7-a146-00d48d9bf06f" providerId="ADAL" clId="{2E3CD894-33E0-48EF-A989-3D88D084809D}"/>
    <pc:docChg chg="custSel delSld modSld modMainMaster">
      <pc:chgData name="Schereiber, Bruna" userId="db59a668-f45f-46a7-a146-00d48d9bf06f" providerId="ADAL" clId="{2E3CD894-33E0-48EF-A989-3D88D084809D}" dt="2023-04-20T14:41:52.922" v="35" actId="20577"/>
      <pc:docMkLst>
        <pc:docMk/>
      </pc:docMkLst>
      <pc:sldChg chg="del">
        <pc:chgData name="Schereiber, Bruna" userId="db59a668-f45f-46a7-a146-00d48d9bf06f" providerId="ADAL" clId="{2E3CD894-33E0-48EF-A989-3D88D084809D}" dt="2023-04-20T14:41:29.429" v="7" actId="47"/>
        <pc:sldMkLst>
          <pc:docMk/>
          <pc:sldMk cId="4183945099" sldId="267"/>
        </pc:sldMkLst>
      </pc:sldChg>
      <pc:sldChg chg="del">
        <pc:chgData name="Schereiber, Bruna" userId="db59a668-f45f-46a7-a146-00d48d9bf06f" providerId="ADAL" clId="{2E3CD894-33E0-48EF-A989-3D88D084809D}" dt="2023-04-20T14:41:25.631" v="6" actId="47"/>
        <pc:sldMkLst>
          <pc:docMk/>
          <pc:sldMk cId="3708958951" sldId="268"/>
        </pc:sldMkLst>
      </pc:sldChg>
      <pc:sldChg chg="del">
        <pc:chgData name="Schereiber, Bruna" userId="db59a668-f45f-46a7-a146-00d48d9bf06f" providerId="ADAL" clId="{2E3CD894-33E0-48EF-A989-3D88D084809D}" dt="2023-04-20T14:41:24.277" v="5" actId="47"/>
        <pc:sldMkLst>
          <pc:docMk/>
          <pc:sldMk cId="3983440137" sldId="269"/>
        </pc:sldMkLst>
      </pc:sldChg>
      <pc:sldChg chg="addSp delSp modSp mod modClrScheme chgLayout">
        <pc:chgData name="Schereiber, Bruna" userId="db59a668-f45f-46a7-a146-00d48d9bf06f" providerId="ADAL" clId="{2E3CD894-33E0-48EF-A989-3D88D084809D}" dt="2023-04-20T14:41:52.922" v="35" actId="20577"/>
        <pc:sldMkLst>
          <pc:docMk/>
          <pc:sldMk cId="1312585981" sldId="270"/>
        </pc:sldMkLst>
        <pc:spChg chg="add mod ord">
          <ac:chgData name="Schereiber, Bruna" userId="db59a668-f45f-46a7-a146-00d48d9bf06f" providerId="ADAL" clId="{2E3CD894-33E0-48EF-A989-3D88D084809D}" dt="2023-04-20T14:41:52.922" v="35" actId="20577"/>
          <ac:spMkLst>
            <pc:docMk/>
            <pc:sldMk cId="1312585981" sldId="270"/>
            <ac:spMk id="2" creationId="{0E05B12D-16D1-3207-C267-D0C6A0A5B366}"/>
          </ac:spMkLst>
        </pc:spChg>
        <pc:spChg chg="add del mod ord">
          <ac:chgData name="Schereiber, Bruna" userId="db59a668-f45f-46a7-a146-00d48d9bf06f" providerId="ADAL" clId="{2E3CD894-33E0-48EF-A989-3D88D084809D}" dt="2023-04-20T14:41:40.456" v="9" actId="478"/>
          <ac:spMkLst>
            <pc:docMk/>
            <pc:sldMk cId="1312585981" sldId="270"/>
            <ac:spMk id="3" creationId="{5B230F4F-1D17-4FF1-0D26-AE52833BC0E6}"/>
          </ac:spMkLst>
        </pc:spChg>
        <pc:spChg chg="del mod ord">
          <ac:chgData name="Schereiber, Bruna" userId="db59a668-f45f-46a7-a146-00d48d9bf06f" providerId="ADAL" clId="{2E3CD894-33E0-48EF-A989-3D88D084809D}" dt="2023-04-20T14:41:35.845" v="8" actId="700"/>
          <ac:spMkLst>
            <pc:docMk/>
            <pc:sldMk cId="1312585981" sldId="270"/>
            <ac:spMk id="4" creationId="{F2D574C2-3B2C-194B-502F-B8B04C00671C}"/>
          </ac:spMkLst>
        </pc:spChg>
      </pc:sldChg>
      <pc:sldMasterChg chg="modSp mod modSldLayout">
        <pc:chgData name="Schereiber, Bruna" userId="db59a668-f45f-46a7-a146-00d48d9bf06f" providerId="ADAL" clId="{2E3CD894-33E0-48EF-A989-3D88D084809D}" dt="2023-04-20T14:41:18.763" v="4" actId="478"/>
        <pc:sldMasterMkLst>
          <pc:docMk/>
          <pc:sldMasterMk cId="0" sldId="2147483648"/>
        </pc:sldMasterMkLst>
        <pc:spChg chg="mod">
          <ac:chgData name="Schereiber, Bruna" userId="db59a668-f45f-46a7-a146-00d48d9bf06f" providerId="ADAL" clId="{2E3CD894-33E0-48EF-A989-3D88D084809D}" dt="2023-04-20T14:41:14.013" v="1"/>
          <ac:spMkLst>
            <pc:docMk/>
            <pc:sldMasterMk cId="0" sldId="2147483648"/>
            <ac:spMk id="29" creationId="{00000000-0000-0000-0000-000000000000}"/>
          </ac:spMkLst>
        </pc:spChg>
        <pc:spChg chg="mod">
          <ac:chgData name="Schereiber, Bruna" userId="db59a668-f45f-46a7-a146-00d48d9bf06f" providerId="ADAL" clId="{2E3CD894-33E0-48EF-A989-3D88D084809D}" dt="2023-04-20T14:41:14.021" v="3"/>
          <ac:spMkLst>
            <pc:docMk/>
            <pc:sldMasterMk cId="0" sldId="2147483648"/>
            <ac:spMk id="32" creationId="{00000000-0000-0000-0000-000000000000}"/>
          </ac:spMkLst>
        </pc:spChg>
        <pc:sldLayoutChg chg="delSp mod">
          <pc:chgData name="Schereiber, Bruna" userId="db59a668-f45f-46a7-a146-00d48d9bf06f" providerId="ADAL" clId="{2E3CD894-33E0-48EF-A989-3D88D084809D}" dt="2023-04-20T14:41:18.763" v="4" actId="478"/>
          <pc:sldLayoutMkLst>
            <pc:docMk/>
            <pc:sldMasterMk cId="0" sldId="2147483648"/>
            <pc:sldLayoutMk cId="1443688414" sldId="2147483654"/>
          </pc:sldLayoutMkLst>
          <pc:spChg chg="del">
            <ac:chgData name="Schereiber, Bruna" userId="db59a668-f45f-46a7-a146-00d48d9bf06f" providerId="ADAL" clId="{2E3CD894-33E0-48EF-A989-3D88D084809D}" dt="2023-04-20T14:41:18.763" v="4" actId="478"/>
            <ac:spMkLst>
              <pc:docMk/>
              <pc:sldMasterMk cId="0" sldId="2147483648"/>
              <pc:sldLayoutMk cId="1443688414" sldId="2147483654"/>
              <ac:spMk id="77" creationId="{89AB0CFF-C995-3062-458B-C10B611760A9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rgbClr val="4D4D4D"/>
                </a:solidFill>
              </a:defRPr>
            </a:lvl1pPr>
          </a:lstStyle>
          <a:p>
            <a:endParaRPr lang="en-US" altLang="de-DE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4D4D4D"/>
                </a:solidFill>
              </a:defRPr>
            </a:lvl1pPr>
          </a:lstStyle>
          <a:p>
            <a:fld id="{CB4610EE-15B9-4452-8971-6CB79E510600}" type="datetime1">
              <a:rPr lang="en-US" altLang="de-DE"/>
              <a:pPr/>
              <a:t>4/20/2023</a:t>
            </a:fld>
            <a:endParaRPr lang="en-US" altLang="de-DE"/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12263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rgbClr val="4D4D4D"/>
                </a:solidFill>
              </a:defRPr>
            </a:lvl1pPr>
          </a:lstStyle>
          <a:p>
            <a:endParaRPr lang="en-US" altLang="de-DE"/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12263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4D4D4D"/>
                </a:solidFill>
              </a:defRPr>
            </a:lvl1pPr>
          </a:lstStyle>
          <a:p>
            <a:fld id="{3060F377-9DAB-4C6F-8B10-8E11828FC534}" type="slidenum">
              <a:rPr lang="en-US" altLang="de-DE"/>
              <a:pPr/>
              <a:t>‹nº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79125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US" altLang="de-DE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EF20F5B8-0AC6-44BC-BD01-26C2DEFA4DDB}" type="datetime1">
              <a:rPr lang="en-US" altLang="de-DE"/>
              <a:pPr/>
              <a:t>4/20/2023</a:t>
            </a:fld>
            <a:endParaRPr lang="en-US" altLang="de-DE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6850" y="727075"/>
            <a:ext cx="6465888" cy="36369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606925"/>
            <a:ext cx="5029200" cy="436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Klicken Sie, um die Formate des Vorlagentextes zu bearbeiten</a:t>
            </a:r>
          </a:p>
          <a:p>
            <a:pPr lvl="1"/>
            <a:r>
              <a:rPr lang="en-US" altLang="de-DE"/>
              <a:t>Zweite Ebene</a:t>
            </a:r>
          </a:p>
          <a:p>
            <a:pPr lvl="2"/>
            <a:r>
              <a:rPr lang="en-US" altLang="de-DE"/>
              <a:t>Dritte Ebene</a:t>
            </a:r>
          </a:p>
          <a:p>
            <a:pPr lvl="3"/>
            <a:r>
              <a:rPr lang="en-US" altLang="de-DE"/>
              <a:t>Vierte Ebene</a:t>
            </a:r>
          </a:p>
          <a:p>
            <a:pPr lvl="4"/>
            <a:r>
              <a:rPr lang="en-US" altLang="de-DE"/>
              <a:t>Fünfte Eben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12263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en-US" altLang="de-DE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9212263"/>
            <a:ext cx="2971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A6041A8F-8ECC-4762-BDDF-92888108ADC9}" type="slidenum">
              <a:rPr lang="en-US" altLang="de-DE"/>
              <a:pPr/>
              <a:t>‹nº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23643357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Univer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65545" indent="-265545">
              <a:defRPr/>
            </a:pPr>
            <a:r>
              <a:rPr lang="de-DE" altLang="de-DE" sz="1000" b="1" dirty="0"/>
              <a:t>Systemlieferant der internationalen Automobilindustrie</a:t>
            </a:r>
          </a:p>
          <a:p>
            <a:pPr marL="265545" indent="-265545">
              <a:defRPr/>
            </a:pPr>
            <a:endParaRPr lang="de-DE" altLang="de-DE" sz="1000" b="1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Begrüßung, Vorstellung der Teilnehmer</a:t>
            </a:r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Familienunternehmen</a:t>
            </a:r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Brose gehört zu den TOP 40 der weltweiten Automobilzulieferer </a:t>
            </a:r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5. größter Automobilzulieferer in Familieneigentum</a:t>
            </a:r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2008: 100jähriges Firmenbestehen</a:t>
            </a:r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Weltweit 62 Standorte </a:t>
            </a:r>
          </a:p>
          <a:p>
            <a:pPr marL="251602" indent="-251602">
              <a:buFont typeface="Wingdings" panose="05000000000000000000" pitchFamily="2" charset="2"/>
              <a:buChar char="§"/>
              <a:defRPr/>
            </a:pPr>
            <a:endParaRPr lang="de-DE" altLang="de-DE" sz="1000" dirty="0"/>
          </a:p>
          <a:p>
            <a:pPr marL="265545" indent="-265545">
              <a:buFont typeface="Wingdings" panose="05000000000000000000" pitchFamily="2" charset="2"/>
              <a:buChar char="§"/>
              <a:defRPr/>
            </a:pPr>
            <a:r>
              <a:rPr lang="de-DE" altLang="de-DE" sz="1000" dirty="0"/>
              <a:t>Brose entwickelt und produziert innovative mechatronische Systeme für Fahrzeugtüren und -sitze sowie Elektromoto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F20F5B8-0AC6-44BC-BD01-26C2DEFA4DDB}" type="datetime1">
              <a:rPr lang="de-DE" altLang="de-DE" smtClean="0"/>
              <a:pPr/>
              <a:t>20.04.2023</a:t>
            </a:fld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041A8F-8ECC-4762-BDDF-92888108ADC9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40641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47" name="Rectangle 35"/>
          <p:cNvSpPr>
            <a:spLocks noGrp="1" noChangeArrowheads="1"/>
          </p:cNvSpPr>
          <p:nvPr>
            <p:ph type="ctrTitle"/>
          </p:nvPr>
        </p:nvSpPr>
        <p:spPr>
          <a:xfrm>
            <a:off x="323916" y="1620000"/>
            <a:ext cx="8997657" cy="11666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>
            <a:lvl1pPr>
              <a:defRPr lang="de-DE" altLang="de-DE" sz="2799" b="0" kern="1200" noProof="0" dirty="0" smtClean="0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 lvl="0" eaLnBrk="1" hangingPunct="1">
              <a:spcBef>
                <a:spcPct val="50000"/>
              </a:spcBef>
              <a:tabLst/>
            </a:pPr>
            <a:r>
              <a:rPr lang="pt-BR" altLang="de-DE" noProof="0"/>
              <a:t>Clique para editar o título Mestre</a:t>
            </a:r>
            <a:endParaRPr lang="en-US" altLang="de-DE" noProof="0" dirty="0"/>
          </a:p>
        </p:txBody>
      </p:sp>
      <p:sp>
        <p:nvSpPr>
          <p:cNvPr id="38948" name="Rectangle 36" hidden="1"/>
          <p:cNvSpPr>
            <a:spLocks noGrp="1" noChangeArrowheads="1"/>
          </p:cNvSpPr>
          <p:nvPr>
            <p:ph type="subTitle" idx="1"/>
          </p:nvPr>
        </p:nvSpPr>
        <p:spPr>
          <a:xfrm>
            <a:off x="1" y="0"/>
            <a:ext cx="48000" cy="3600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Ins="72000"/>
          <a:lstStyle>
            <a:lvl1pPr marL="0" indent="0">
              <a:buFont typeface="Symbol" pitchFamily="18" charset="2"/>
              <a:buNone/>
              <a:defRPr sz="100" b="0"/>
            </a:lvl1pPr>
          </a:lstStyle>
          <a:p>
            <a:pPr lvl="0"/>
            <a:r>
              <a:rPr lang="pt-BR" altLang="de-DE" noProof="0"/>
              <a:t>Clique para editar o estilo do subtítulo Mestre</a:t>
            </a:r>
            <a:endParaRPr lang="en-US" altLang="de-DE" noProof="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F32B990-D28F-4C4D-AD8B-FD42BD7F9422}"/>
              </a:ext>
            </a:extLst>
          </p:cNvPr>
          <p:cNvSpPr/>
          <p:nvPr userDrawn="1"/>
        </p:nvSpPr>
        <p:spPr bwMode="auto">
          <a:xfrm>
            <a:off x="336462" y="3098307"/>
            <a:ext cx="11519075" cy="2947386"/>
          </a:xfrm>
          <a:prstGeom prst="rect">
            <a:avLst/>
          </a:prstGeom>
          <a:solidFill>
            <a:srgbClr val="DDDD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B505CEB-59E9-8B48-A717-0E5031AA96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08" t="-13716"/>
          <a:stretch/>
        </p:blipFill>
        <p:spPr>
          <a:xfrm>
            <a:off x="10358103" y="471600"/>
            <a:ext cx="1499391" cy="56880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F8883BD4-E6EE-183F-441F-BB7FA80C4A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300" y="2796540"/>
            <a:ext cx="6258941" cy="3718854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7468" userDrawn="1">
          <p15:clr>
            <a:srgbClr val="FBAE40"/>
          </p15:clr>
        </p15:guide>
        <p15:guide id="3" pos="6561" userDrawn="1">
          <p15:clr>
            <a:srgbClr val="FBAE40"/>
          </p15:clr>
        </p15:guide>
        <p15:guide id="4" pos="212" userDrawn="1">
          <p15:clr>
            <a:srgbClr val="FBAE40"/>
          </p15:clr>
        </p15:guide>
        <p15:guide id="5" orient="horz" pos="1162" userDrawn="1">
          <p15:clr>
            <a:srgbClr val="FBAE40"/>
          </p15:clr>
        </p15:guide>
        <p15:guide id="6" orient="horz" pos="4020" userDrawn="1">
          <p15:clr>
            <a:srgbClr val="FBAE40"/>
          </p15:clr>
        </p15:guide>
        <p15:guide id="7" orient="horz" pos="170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5665AB-C955-95F3-55E7-C3F8C8074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056047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36550" y="1844677"/>
            <a:ext cx="11504367" cy="453707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2138BFA-51CA-7996-0723-12811B3C0642}"/>
              </a:ext>
            </a:extLst>
          </p:cNvPr>
          <p:cNvSpPr/>
          <p:nvPr userDrawn="1"/>
        </p:nvSpPr>
        <p:spPr bwMode="auto">
          <a:xfrm>
            <a:off x="323916" y="1844824"/>
            <a:ext cx="11532724" cy="453650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8BDEE11-8F60-C35D-C658-9ECF86F06C49}"/>
              </a:ext>
            </a:extLst>
          </p:cNvPr>
          <p:cNvSpPr/>
          <p:nvPr userDrawn="1"/>
        </p:nvSpPr>
        <p:spPr bwMode="auto">
          <a:xfrm>
            <a:off x="407368" y="1974299"/>
            <a:ext cx="5667522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’s Title: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4075BF3-F5E5-0424-43A4-420CD3FA72D0}"/>
              </a:ext>
            </a:extLst>
          </p:cNvPr>
          <p:cNvSpPr/>
          <p:nvPr userDrawn="1"/>
        </p:nvSpPr>
        <p:spPr bwMode="auto">
          <a:xfrm>
            <a:off x="6183598" y="1974298"/>
            <a:ext cx="5525549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 Leader: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EE30CA6-923A-D682-FE53-08A09D5EAADD}"/>
              </a:ext>
            </a:extLst>
          </p:cNvPr>
          <p:cNvSpPr/>
          <p:nvPr userDrawn="1"/>
        </p:nvSpPr>
        <p:spPr bwMode="auto">
          <a:xfrm>
            <a:off x="4643696" y="2454724"/>
            <a:ext cx="1431194" cy="1295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ain or Opportunity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:</a:t>
            </a:r>
          </a:p>
        </p:txBody>
      </p: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7B6ED5B8-0316-B1B7-7E4A-19021EC40746}"/>
              </a:ext>
            </a:extLst>
          </p:cNvPr>
          <p:cNvGrpSpPr/>
          <p:nvPr userDrawn="1"/>
        </p:nvGrpSpPr>
        <p:grpSpPr>
          <a:xfrm>
            <a:off x="4723860" y="3031737"/>
            <a:ext cx="1259709" cy="585094"/>
            <a:chOff x="6241948" y="2518143"/>
            <a:chExt cx="1259709" cy="585094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375BE6E4-733F-8F4A-F282-F5DDD2952104}"/>
                </a:ext>
              </a:extLst>
            </p:cNvPr>
            <p:cNvSpPr/>
            <p:nvPr userDrawn="1"/>
          </p:nvSpPr>
          <p:spPr bwMode="auto">
            <a:xfrm>
              <a:off x="6241948" y="2548631"/>
              <a:ext cx="216024" cy="216024"/>
            </a:xfrm>
            <a:prstGeom prst="rect">
              <a:avLst/>
            </a:prstGeom>
            <a:solidFill>
              <a:srgbClr val="F1F0E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13A4F7DC-B9C3-61F9-3488-FFC2ABF1034F}"/>
                </a:ext>
              </a:extLst>
            </p:cNvPr>
            <p:cNvSpPr/>
            <p:nvPr userDrawn="1"/>
          </p:nvSpPr>
          <p:spPr bwMode="auto">
            <a:xfrm>
              <a:off x="6241948" y="2873928"/>
              <a:ext cx="216024" cy="216024"/>
            </a:xfrm>
            <a:prstGeom prst="rect">
              <a:avLst/>
            </a:prstGeom>
            <a:solidFill>
              <a:srgbClr val="F1F0E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7AD571FA-4089-147D-1127-CD179B5BB261}"/>
                </a:ext>
              </a:extLst>
            </p:cNvPr>
            <p:cNvSpPr txBox="1"/>
            <p:nvPr userDrawn="1"/>
          </p:nvSpPr>
          <p:spPr>
            <a:xfrm>
              <a:off x="6470606" y="2518143"/>
              <a:ext cx="4828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b="0" dirty="0"/>
                <a:t>Pain</a:t>
              </a: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902E2DB1-608E-A964-A1D9-42FC7AC3A737}"/>
                </a:ext>
              </a:extLst>
            </p:cNvPr>
            <p:cNvSpPr txBox="1"/>
            <p:nvPr userDrawn="1"/>
          </p:nvSpPr>
          <p:spPr>
            <a:xfrm>
              <a:off x="6470606" y="2826238"/>
              <a:ext cx="10310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b="0" dirty="0"/>
                <a:t>Opportunity</a:t>
              </a: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9E64F9EA-6F06-C550-DE43-AF4CB7B2FC6C}"/>
              </a:ext>
            </a:extLst>
          </p:cNvPr>
          <p:cNvGrpSpPr/>
          <p:nvPr userDrawn="1"/>
        </p:nvGrpSpPr>
        <p:grpSpPr>
          <a:xfrm>
            <a:off x="6183599" y="2454724"/>
            <a:ext cx="5525548" cy="1470280"/>
            <a:chOff x="3474426" y="2325932"/>
            <a:chExt cx="4647197" cy="1463108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E9A4237E-F4D0-1AB6-5790-10C42BB022B1}"/>
                </a:ext>
              </a:extLst>
            </p:cNvPr>
            <p:cNvSpPr/>
            <p:nvPr userDrawn="1"/>
          </p:nvSpPr>
          <p:spPr bwMode="auto">
            <a:xfrm>
              <a:off x="3474426" y="2325932"/>
              <a:ext cx="4647197" cy="14631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Team:</a:t>
              </a: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C1CFE33E-6432-BCDC-2CD7-51D0AC7F42EB}"/>
                </a:ext>
              </a:extLst>
            </p:cNvPr>
            <p:cNvSpPr txBox="1"/>
            <p:nvPr userDrawn="1"/>
          </p:nvSpPr>
          <p:spPr>
            <a:xfrm>
              <a:off x="4045670" y="2358892"/>
              <a:ext cx="938077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Dsf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sas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f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f</a:t>
              </a:r>
              <a:endParaRPr lang="en-US" b="0" dirty="0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702D4DCD-3221-A325-5C48-400EC71FAE57}"/>
                </a:ext>
              </a:extLst>
            </p:cNvPr>
            <p:cNvSpPr/>
            <p:nvPr userDrawn="1"/>
          </p:nvSpPr>
          <p:spPr bwMode="auto">
            <a:xfrm>
              <a:off x="4295800" y="2419839"/>
              <a:ext cx="3825823" cy="129545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</p:grpSp>
      <p:sp>
        <p:nvSpPr>
          <p:cNvPr id="24" name="Retângulo 23">
            <a:extLst>
              <a:ext uri="{FF2B5EF4-FFF2-40B4-BE49-F238E27FC236}">
                <a16:creationId xmlns:a16="http://schemas.microsoft.com/office/drawing/2014/main" id="{13433D18-0A39-3E92-5728-C2D920E45A1D}"/>
              </a:ext>
            </a:extLst>
          </p:cNvPr>
          <p:cNvSpPr/>
          <p:nvPr userDrawn="1"/>
        </p:nvSpPr>
        <p:spPr bwMode="auto">
          <a:xfrm>
            <a:off x="413501" y="5013176"/>
            <a:ext cx="5661389" cy="12195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tate of art solution: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7FFA6681-F328-29D7-A8A5-F0AF0BE2026C}"/>
              </a:ext>
            </a:extLst>
          </p:cNvPr>
          <p:cNvSpPr/>
          <p:nvPr userDrawn="1"/>
        </p:nvSpPr>
        <p:spPr bwMode="auto">
          <a:xfrm>
            <a:off x="407368" y="2454724"/>
            <a:ext cx="4179558" cy="1295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 Motivation:</a:t>
            </a:r>
          </a:p>
        </p:txBody>
      </p: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C093A980-3332-9702-FA8C-6FF38BCDA58D}"/>
              </a:ext>
            </a:extLst>
          </p:cNvPr>
          <p:cNvGrpSpPr/>
          <p:nvPr userDrawn="1"/>
        </p:nvGrpSpPr>
        <p:grpSpPr>
          <a:xfrm>
            <a:off x="6183598" y="4024790"/>
            <a:ext cx="5525549" cy="2206336"/>
            <a:chOff x="463135" y="3886673"/>
            <a:chExt cx="5525549" cy="2206336"/>
          </a:xfrm>
        </p:grpSpPr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645D19E3-6824-874F-21F3-01BA77ACAFB5}"/>
                </a:ext>
              </a:extLst>
            </p:cNvPr>
            <p:cNvSpPr/>
            <p:nvPr userDrawn="1"/>
          </p:nvSpPr>
          <p:spPr bwMode="auto">
            <a:xfrm>
              <a:off x="463135" y="3886673"/>
              <a:ext cx="5525549" cy="22063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Expected Results:</a:t>
              </a:r>
            </a:p>
          </p:txBody>
        </p:sp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DCD90A7D-E164-6D8C-5C47-60B0BDF7C475}"/>
                </a:ext>
              </a:extLst>
            </p:cNvPr>
            <p:cNvGrpSpPr/>
            <p:nvPr userDrawn="1"/>
          </p:nvGrpSpPr>
          <p:grpSpPr>
            <a:xfrm>
              <a:off x="548425" y="3986459"/>
              <a:ext cx="5331552" cy="2006763"/>
              <a:chOff x="531177" y="3946311"/>
              <a:chExt cx="5337737" cy="2006763"/>
            </a:xfrm>
          </p:grpSpPr>
          <p:grpSp>
            <p:nvGrpSpPr>
              <p:cNvPr id="31" name="Agrupar 30">
                <a:extLst>
                  <a:ext uri="{FF2B5EF4-FFF2-40B4-BE49-F238E27FC236}">
                    <a16:creationId xmlns:a16="http://schemas.microsoft.com/office/drawing/2014/main" id="{C03792A2-CA42-E549-6D1A-715ECB1402F8}"/>
                  </a:ext>
                </a:extLst>
              </p:cNvPr>
              <p:cNvGrpSpPr/>
              <p:nvPr userDrawn="1"/>
            </p:nvGrpSpPr>
            <p:grpSpPr>
              <a:xfrm>
                <a:off x="531177" y="4268965"/>
                <a:ext cx="1308873" cy="1684109"/>
                <a:chOff x="531177" y="4268965"/>
                <a:chExt cx="1308873" cy="1684109"/>
              </a:xfrm>
            </p:grpSpPr>
            <p:sp>
              <p:nvSpPr>
                <p:cNvPr id="20" name="Retângulo 19">
                  <a:extLst>
                    <a:ext uri="{FF2B5EF4-FFF2-40B4-BE49-F238E27FC236}">
                      <a16:creationId xmlns:a16="http://schemas.microsoft.com/office/drawing/2014/main" id="{74CE0D0E-F391-8605-9E79-D8D786BAD691}"/>
                    </a:ext>
                  </a:extLst>
                </p:cNvPr>
                <p:cNvSpPr/>
                <p:nvPr userDrawn="1"/>
              </p:nvSpPr>
              <p:spPr bwMode="auto">
                <a:xfrm>
                  <a:off x="531177" y="4268965"/>
                  <a:ext cx="1308872" cy="817575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Quantitative</a:t>
                  </a:r>
                </a:p>
              </p:txBody>
            </p:sp>
            <p:sp>
              <p:nvSpPr>
                <p:cNvPr id="21" name="Retângulo 20">
                  <a:extLst>
                    <a:ext uri="{FF2B5EF4-FFF2-40B4-BE49-F238E27FC236}">
                      <a16:creationId xmlns:a16="http://schemas.microsoft.com/office/drawing/2014/main" id="{B3018E20-0DD1-78C2-FA0B-944BD9AEE714}"/>
                    </a:ext>
                  </a:extLst>
                </p:cNvPr>
                <p:cNvSpPr/>
                <p:nvPr userDrawn="1"/>
              </p:nvSpPr>
              <p:spPr bwMode="auto">
                <a:xfrm>
                  <a:off x="531178" y="5135500"/>
                  <a:ext cx="1308872" cy="81757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Qualitative</a:t>
                  </a:r>
                </a:p>
              </p:txBody>
            </p:sp>
          </p:grpSp>
          <p:grpSp>
            <p:nvGrpSpPr>
              <p:cNvPr id="30" name="Agrupar 29">
                <a:extLst>
                  <a:ext uri="{FF2B5EF4-FFF2-40B4-BE49-F238E27FC236}">
                    <a16:creationId xmlns:a16="http://schemas.microsoft.com/office/drawing/2014/main" id="{427FE9C7-AFF9-B479-C5E2-73B069227DBD}"/>
                  </a:ext>
                </a:extLst>
              </p:cNvPr>
              <p:cNvGrpSpPr/>
              <p:nvPr userDrawn="1"/>
            </p:nvGrpSpPr>
            <p:grpSpPr>
              <a:xfrm>
                <a:off x="1910266" y="3946311"/>
                <a:ext cx="1944216" cy="2006763"/>
                <a:chOff x="1886243" y="3943157"/>
                <a:chExt cx="1944216" cy="2006763"/>
              </a:xfrm>
            </p:grpSpPr>
            <p:sp>
              <p:nvSpPr>
                <p:cNvPr id="18" name="Retângulo 17">
                  <a:extLst>
                    <a:ext uri="{FF2B5EF4-FFF2-40B4-BE49-F238E27FC236}">
                      <a16:creationId xmlns:a16="http://schemas.microsoft.com/office/drawing/2014/main" id="{E82218E7-3039-AC24-6871-ACBEAF7C1D97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3943157"/>
                  <a:ext cx="1944216" cy="28729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Current State</a:t>
                  </a:r>
                </a:p>
              </p:txBody>
            </p:sp>
            <p:sp>
              <p:nvSpPr>
                <p:cNvPr id="22" name="Retângulo 21">
                  <a:extLst>
                    <a:ext uri="{FF2B5EF4-FFF2-40B4-BE49-F238E27FC236}">
                      <a16:creationId xmlns:a16="http://schemas.microsoft.com/office/drawing/2014/main" id="{1F7C3298-3D15-79B8-D726-9747DDC9EA43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4276437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  <p:sp>
              <p:nvSpPr>
                <p:cNvPr id="23" name="Retângulo 22">
                  <a:extLst>
                    <a:ext uri="{FF2B5EF4-FFF2-40B4-BE49-F238E27FC236}">
                      <a16:creationId xmlns:a16="http://schemas.microsoft.com/office/drawing/2014/main" id="{D8A5B45F-17FD-E96C-6D0C-694DB1776BF9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5132345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</p:grpSp>
          <p:grpSp>
            <p:nvGrpSpPr>
              <p:cNvPr id="29" name="Agrupar 28">
                <a:extLst>
                  <a:ext uri="{FF2B5EF4-FFF2-40B4-BE49-F238E27FC236}">
                    <a16:creationId xmlns:a16="http://schemas.microsoft.com/office/drawing/2014/main" id="{DCC822D2-9C26-230D-FB2C-218C9873CA20}"/>
                  </a:ext>
                </a:extLst>
              </p:cNvPr>
              <p:cNvGrpSpPr/>
              <p:nvPr userDrawn="1"/>
            </p:nvGrpSpPr>
            <p:grpSpPr>
              <a:xfrm>
                <a:off x="3924698" y="3946311"/>
                <a:ext cx="1944216" cy="2006763"/>
                <a:chOff x="3924698" y="3943157"/>
                <a:chExt cx="1944216" cy="2006763"/>
              </a:xfrm>
            </p:grpSpPr>
            <p:sp>
              <p:nvSpPr>
                <p:cNvPr id="19" name="Retângulo 18">
                  <a:extLst>
                    <a:ext uri="{FF2B5EF4-FFF2-40B4-BE49-F238E27FC236}">
                      <a16:creationId xmlns:a16="http://schemas.microsoft.com/office/drawing/2014/main" id="{23DCC867-3690-8EE6-9687-8EE7DD738450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3943157"/>
                  <a:ext cx="1944216" cy="28729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Future State</a:t>
                  </a:r>
                </a:p>
              </p:txBody>
            </p:sp>
            <p:sp>
              <p:nvSpPr>
                <p:cNvPr id="26" name="Retângulo 25">
                  <a:extLst>
                    <a:ext uri="{FF2B5EF4-FFF2-40B4-BE49-F238E27FC236}">
                      <a16:creationId xmlns:a16="http://schemas.microsoft.com/office/drawing/2014/main" id="{A6F5CCAF-DF45-2CC0-7C13-DDBC6A5923BF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4281596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  <p:sp>
              <p:nvSpPr>
                <p:cNvPr id="27" name="Retângulo 26">
                  <a:extLst>
                    <a:ext uri="{FF2B5EF4-FFF2-40B4-BE49-F238E27FC236}">
                      <a16:creationId xmlns:a16="http://schemas.microsoft.com/office/drawing/2014/main" id="{77A3EDC2-FE64-402B-5C5F-D088F3185C4D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5132345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</p:grpSp>
        </p:grpSp>
      </p:grpSp>
      <p:sp>
        <p:nvSpPr>
          <p:cNvPr id="28" name="Retângulo 27">
            <a:extLst>
              <a:ext uri="{FF2B5EF4-FFF2-40B4-BE49-F238E27FC236}">
                <a16:creationId xmlns:a16="http://schemas.microsoft.com/office/drawing/2014/main" id="{914317AC-6FA3-5E17-D4E9-FBBD81D90321}"/>
              </a:ext>
            </a:extLst>
          </p:cNvPr>
          <p:cNvSpPr/>
          <p:nvPr userDrawn="1"/>
        </p:nvSpPr>
        <p:spPr bwMode="auto">
          <a:xfrm>
            <a:off x="407368" y="3841760"/>
            <a:ext cx="2101321" cy="108004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Expected duration:</a:t>
            </a:r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228A07B-CFBF-4363-DC56-1CEB315C31DF}"/>
              </a:ext>
            </a:extLst>
          </p:cNvPr>
          <p:cNvGrpSpPr/>
          <p:nvPr userDrawn="1"/>
        </p:nvGrpSpPr>
        <p:grpSpPr>
          <a:xfrm>
            <a:off x="2578825" y="3842240"/>
            <a:ext cx="3496065" cy="1080048"/>
            <a:chOff x="3550020" y="3733031"/>
            <a:chExt cx="3496065" cy="1080048"/>
          </a:xfrm>
        </p:grpSpPr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649E9395-E873-A79F-D5A4-68E2752C755F}"/>
                </a:ext>
              </a:extLst>
            </p:cNvPr>
            <p:cNvSpPr/>
            <p:nvPr userDrawn="1"/>
          </p:nvSpPr>
          <p:spPr bwMode="auto">
            <a:xfrm>
              <a:off x="3550020" y="3733031"/>
              <a:ext cx="3496065" cy="108004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Investment:</a:t>
              </a:r>
            </a:p>
          </p:txBody>
        </p:sp>
        <p:grpSp>
          <p:nvGrpSpPr>
            <p:cNvPr id="49" name="Agrupar 48">
              <a:extLst>
                <a:ext uri="{FF2B5EF4-FFF2-40B4-BE49-F238E27FC236}">
                  <a16:creationId xmlns:a16="http://schemas.microsoft.com/office/drawing/2014/main" id="{EF8803B8-A0A1-391F-5103-6ED6FB489097}"/>
                </a:ext>
              </a:extLst>
            </p:cNvPr>
            <p:cNvGrpSpPr/>
            <p:nvPr userDrawn="1"/>
          </p:nvGrpSpPr>
          <p:grpSpPr>
            <a:xfrm>
              <a:off x="3635797" y="4023118"/>
              <a:ext cx="3318967" cy="694995"/>
              <a:chOff x="3635310" y="4155472"/>
              <a:chExt cx="3318967" cy="694995"/>
            </a:xfrm>
          </p:grpSpPr>
          <p:sp>
            <p:nvSpPr>
              <p:cNvPr id="47" name="Retângulo 46">
                <a:extLst>
                  <a:ext uri="{FF2B5EF4-FFF2-40B4-BE49-F238E27FC236}">
                    <a16:creationId xmlns:a16="http://schemas.microsoft.com/office/drawing/2014/main" id="{DA34BF63-6703-EA2B-B68E-5FCA74EF5466}"/>
                  </a:ext>
                </a:extLst>
              </p:cNvPr>
              <p:cNvSpPr/>
              <p:nvPr userDrawn="1"/>
            </p:nvSpPr>
            <p:spPr bwMode="auto">
              <a:xfrm>
                <a:off x="3635310" y="4155472"/>
                <a:ext cx="1307355" cy="327298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rPr>
                  <a:t>Budget</a:t>
                </a:r>
              </a:p>
            </p:txBody>
          </p:sp>
          <p:sp>
            <p:nvSpPr>
              <p:cNvPr id="48" name="Retângulo 47">
                <a:extLst>
                  <a:ext uri="{FF2B5EF4-FFF2-40B4-BE49-F238E27FC236}">
                    <a16:creationId xmlns:a16="http://schemas.microsoft.com/office/drawing/2014/main" id="{D556A544-DCBD-12F6-F7CE-D1F730DCEEEA}"/>
                  </a:ext>
                </a:extLst>
              </p:cNvPr>
              <p:cNvSpPr/>
              <p:nvPr userDrawn="1"/>
            </p:nvSpPr>
            <p:spPr bwMode="auto">
              <a:xfrm>
                <a:off x="3635310" y="4523170"/>
                <a:ext cx="1307355" cy="327297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rPr>
                  <a:t>Project Hours</a:t>
                </a:r>
              </a:p>
            </p:txBody>
          </p:sp>
          <p:sp>
            <p:nvSpPr>
              <p:cNvPr id="45" name="Retângulo 44">
                <a:extLst>
                  <a:ext uri="{FF2B5EF4-FFF2-40B4-BE49-F238E27FC236}">
                    <a16:creationId xmlns:a16="http://schemas.microsoft.com/office/drawing/2014/main" id="{3A0A4B0E-C37F-AE47-7F9A-4EED9E4CA22F}"/>
                  </a:ext>
                </a:extLst>
              </p:cNvPr>
              <p:cNvSpPr/>
              <p:nvPr userDrawn="1"/>
            </p:nvSpPr>
            <p:spPr bwMode="auto">
              <a:xfrm>
                <a:off x="5012314" y="4155472"/>
                <a:ext cx="1941963" cy="327298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  <p:sp>
            <p:nvSpPr>
              <p:cNvPr id="46" name="Retângulo 45">
                <a:extLst>
                  <a:ext uri="{FF2B5EF4-FFF2-40B4-BE49-F238E27FC236}">
                    <a16:creationId xmlns:a16="http://schemas.microsoft.com/office/drawing/2014/main" id="{65FFB4A1-EBB4-61DB-5804-57D34D57A307}"/>
                  </a:ext>
                </a:extLst>
              </p:cNvPr>
              <p:cNvSpPr/>
              <p:nvPr userDrawn="1"/>
            </p:nvSpPr>
            <p:spPr bwMode="auto">
              <a:xfrm>
                <a:off x="5012314" y="4524701"/>
                <a:ext cx="1941963" cy="325766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3718671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36550" y="1844677"/>
            <a:ext cx="11504367" cy="453707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2138BFA-51CA-7996-0723-12811B3C0642}"/>
              </a:ext>
            </a:extLst>
          </p:cNvPr>
          <p:cNvSpPr/>
          <p:nvPr userDrawn="1"/>
        </p:nvSpPr>
        <p:spPr bwMode="auto">
          <a:xfrm>
            <a:off x="323916" y="1844824"/>
            <a:ext cx="11532724" cy="453650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8BDEE11-8F60-C35D-C658-9ECF86F06C49}"/>
              </a:ext>
            </a:extLst>
          </p:cNvPr>
          <p:cNvSpPr/>
          <p:nvPr userDrawn="1"/>
        </p:nvSpPr>
        <p:spPr bwMode="auto">
          <a:xfrm>
            <a:off x="407368" y="1974299"/>
            <a:ext cx="5525549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Reporting frequency: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4075BF3-F5E5-0424-43A4-420CD3FA72D0}"/>
              </a:ext>
            </a:extLst>
          </p:cNvPr>
          <p:cNvSpPr/>
          <p:nvPr userDrawn="1"/>
        </p:nvSpPr>
        <p:spPr bwMode="auto">
          <a:xfrm>
            <a:off x="6183598" y="1974298"/>
            <a:ext cx="5525549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 Leader:</a:t>
            </a:r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7B559E67-FC00-76EB-1300-EB7800C835E6}"/>
              </a:ext>
            </a:extLst>
          </p:cNvPr>
          <p:cNvGrpSpPr/>
          <p:nvPr userDrawn="1"/>
        </p:nvGrpSpPr>
        <p:grpSpPr>
          <a:xfrm>
            <a:off x="6556208" y="2590669"/>
            <a:ext cx="2204087" cy="1295452"/>
            <a:chOff x="4643695" y="2454724"/>
            <a:chExt cx="2204087" cy="1295452"/>
          </a:xfrm>
        </p:grpSpPr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AEE30CA6-923A-D682-FE53-08A09D5EAADD}"/>
                </a:ext>
              </a:extLst>
            </p:cNvPr>
            <p:cNvSpPr/>
            <p:nvPr userDrawn="1"/>
          </p:nvSpPr>
          <p:spPr bwMode="auto">
            <a:xfrm>
              <a:off x="4643695" y="2454724"/>
              <a:ext cx="2204087" cy="129545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Chosen methodology</a:t>
              </a:r>
              <a:r>
                <a:rPr kumimoji="0" lang="en-US" sz="16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:</a:t>
              </a:r>
            </a:p>
          </p:txBody>
        </p:sp>
        <p:grpSp>
          <p:nvGrpSpPr>
            <p:cNvPr id="51" name="Agrupar 50">
              <a:extLst>
                <a:ext uri="{FF2B5EF4-FFF2-40B4-BE49-F238E27FC236}">
                  <a16:creationId xmlns:a16="http://schemas.microsoft.com/office/drawing/2014/main" id="{7B6ED5B8-0316-B1B7-7E4A-19021EC40746}"/>
                </a:ext>
              </a:extLst>
            </p:cNvPr>
            <p:cNvGrpSpPr/>
            <p:nvPr userDrawn="1"/>
          </p:nvGrpSpPr>
          <p:grpSpPr>
            <a:xfrm>
              <a:off x="4723860" y="3031737"/>
              <a:ext cx="1926559" cy="585094"/>
              <a:chOff x="6241948" y="2518143"/>
              <a:chExt cx="1926559" cy="585094"/>
            </a:xfrm>
          </p:grpSpPr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375BE6E4-733F-8F4A-F282-F5DDD2952104}"/>
                  </a:ext>
                </a:extLst>
              </p:cNvPr>
              <p:cNvSpPr/>
              <p:nvPr userDrawn="1"/>
            </p:nvSpPr>
            <p:spPr bwMode="auto">
              <a:xfrm>
                <a:off x="6241948" y="2548631"/>
                <a:ext cx="216024" cy="216024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  <p:sp>
            <p:nvSpPr>
              <p:cNvPr id="9" name="Retângulo 8">
                <a:extLst>
                  <a:ext uri="{FF2B5EF4-FFF2-40B4-BE49-F238E27FC236}">
                    <a16:creationId xmlns:a16="http://schemas.microsoft.com/office/drawing/2014/main" id="{13A4F7DC-B9C3-61F9-3488-FFC2ABF1034F}"/>
                  </a:ext>
                </a:extLst>
              </p:cNvPr>
              <p:cNvSpPr/>
              <p:nvPr userDrawn="1"/>
            </p:nvSpPr>
            <p:spPr bwMode="auto">
              <a:xfrm>
                <a:off x="6241948" y="2873928"/>
                <a:ext cx="216024" cy="216024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7AD571FA-4089-147D-1127-CD179B5BB261}"/>
                  </a:ext>
                </a:extLst>
              </p:cNvPr>
              <p:cNvSpPr txBox="1"/>
              <p:nvPr userDrawn="1"/>
            </p:nvSpPr>
            <p:spPr>
              <a:xfrm>
                <a:off x="6470606" y="2518143"/>
                <a:ext cx="135485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b="0" dirty="0"/>
                  <a:t>Open Innovation</a:t>
                </a:r>
              </a:p>
            </p:txBody>
          </p:sp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902E2DB1-608E-A964-A1D9-42FC7AC3A737}"/>
                  </a:ext>
                </a:extLst>
              </p:cNvPr>
              <p:cNvSpPr txBox="1"/>
              <p:nvPr userDrawn="1"/>
            </p:nvSpPr>
            <p:spPr>
              <a:xfrm>
                <a:off x="6470606" y="2826238"/>
                <a:ext cx="169790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b="0" dirty="0"/>
                  <a:t>Internal Development</a:t>
                </a:r>
              </a:p>
            </p:txBody>
          </p:sp>
        </p:grpSp>
      </p:grpSp>
      <p:sp>
        <p:nvSpPr>
          <p:cNvPr id="17" name="Retângulo 16">
            <a:extLst>
              <a:ext uri="{FF2B5EF4-FFF2-40B4-BE49-F238E27FC236}">
                <a16:creationId xmlns:a16="http://schemas.microsoft.com/office/drawing/2014/main" id="{645D19E3-6824-874F-21F3-01BA77ACAFB5}"/>
              </a:ext>
            </a:extLst>
          </p:cNvPr>
          <p:cNvSpPr/>
          <p:nvPr userDrawn="1"/>
        </p:nvSpPr>
        <p:spPr bwMode="auto">
          <a:xfrm>
            <a:off x="407368" y="2463045"/>
            <a:ext cx="5525549" cy="34874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s’ schedule: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74CE0D0E-F391-8605-9E79-D8D786BAD691}"/>
              </a:ext>
            </a:extLst>
          </p:cNvPr>
          <p:cNvSpPr/>
          <p:nvPr userDrawn="1"/>
        </p:nvSpPr>
        <p:spPr bwMode="auto">
          <a:xfrm>
            <a:off x="485080" y="2906845"/>
            <a:ext cx="1374567" cy="54949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 1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E82218E7-3039-AC24-6871-ACBEAF7C1D97}"/>
              </a:ext>
            </a:extLst>
          </p:cNvPr>
          <p:cNvSpPr/>
          <p:nvPr userDrawn="1"/>
        </p:nvSpPr>
        <p:spPr bwMode="auto">
          <a:xfrm>
            <a:off x="1870149" y="2540865"/>
            <a:ext cx="2680653" cy="2881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cope of the sprint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F7C3298-3D15-79B8-D726-9747DDC9EA43}"/>
              </a:ext>
            </a:extLst>
          </p:cNvPr>
          <p:cNvSpPr/>
          <p:nvPr userDrawn="1"/>
        </p:nvSpPr>
        <p:spPr bwMode="auto">
          <a:xfrm>
            <a:off x="1892677" y="2906847"/>
            <a:ext cx="2656598" cy="549499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3DCC867-3690-8EE6-9687-8EE7DD738450}"/>
              </a:ext>
            </a:extLst>
          </p:cNvPr>
          <p:cNvSpPr/>
          <p:nvPr userDrawn="1"/>
        </p:nvSpPr>
        <p:spPr bwMode="auto">
          <a:xfrm>
            <a:off x="4583832" y="2540863"/>
            <a:ext cx="1241905" cy="2881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Report date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A6F5CCAF-DF45-2CC0-7C13-DDBC6A5923BF}"/>
              </a:ext>
            </a:extLst>
          </p:cNvPr>
          <p:cNvSpPr/>
          <p:nvPr userDrawn="1"/>
        </p:nvSpPr>
        <p:spPr bwMode="auto">
          <a:xfrm>
            <a:off x="4582305" y="2906847"/>
            <a:ext cx="1241905" cy="549497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BC35DCC-386B-31F5-62B3-5D400BEEF7B6}"/>
              </a:ext>
            </a:extLst>
          </p:cNvPr>
          <p:cNvSpPr/>
          <p:nvPr userDrawn="1"/>
        </p:nvSpPr>
        <p:spPr bwMode="auto">
          <a:xfrm>
            <a:off x="6096000" y="332656"/>
            <a:ext cx="2952328" cy="1361819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tep 2 (general) – under discussion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FA5B93F-795E-1A53-6639-47B4F966D86F}"/>
              </a:ext>
            </a:extLst>
          </p:cNvPr>
          <p:cNvSpPr/>
          <p:nvPr userDrawn="1"/>
        </p:nvSpPr>
        <p:spPr bwMode="auto">
          <a:xfrm>
            <a:off x="486989" y="3504387"/>
            <a:ext cx="1374567" cy="54949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 1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FD89EF79-53D5-9BCE-8990-1BE72329336F}"/>
              </a:ext>
            </a:extLst>
          </p:cNvPr>
          <p:cNvSpPr/>
          <p:nvPr userDrawn="1"/>
        </p:nvSpPr>
        <p:spPr bwMode="auto">
          <a:xfrm>
            <a:off x="1894586" y="3504389"/>
            <a:ext cx="2656598" cy="549499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E2075820-25A9-F865-C2E0-27D737322EAF}"/>
              </a:ext>
            </a:extLst>
          </p:cNvPr>
          <p:cNvSpPr/>
          <p:nvPr userDrawn="1"/>
        </p:nvSpPr>
        <p:spPr bwMode="auto">
          <a:xfrm>
            <a:off x="4584214" y="3504389"/>
            <a:ext cx="1241905" cy="549497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519B028-9347-2DDF-0E93-268FC143F79A}"/>
              </a:ext>
            </a:extLst>
          </p:cNvPr>
          <p:cNvSpPr/>
          <p:nvPr userDrawn="1"/>
        </p:nvSpPr>
        <p:spPr bwMode="auto">
          <a:xfrm>
            <a:off x="485080" y="4097697"/>
            <a:ext cx="1374567" cy="54949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 1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D13DD491-7FE3-2FE2-7384-3A743291FB7B}"/>
              </a:ext>
            </a:extLst>
          </p:cNvPr>
          <p:cNvSpPr/>
          <p:nvPr userDrawn="1"/>
        </p:nvSpPr>
        <p:spPr bwMode="auto">
          <a:xfrm>
            <a:off x="1892677" y="4097699"/>
            <a:ext cx="2656598" cy="549499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100D2F57-3840-E42B-1E92-DF7144676579}"/>
              </a:ext>
            </a:extLst>
          </p:cNvPr>
          <p:cNvSpPr/>
          <p:nvPr userDrawn="1"/>
        </p:nvSpPr>
        <p:spPr bwMode="auto">
          <a:xfrm>
            <a:off x="4582305" y="4097699"/>
            <a:ext cx="1241905" cy="549497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73A4DDF1-F2D5-1229-70DD-F089855A3829}"/>
              </a:ext>
            </a:extLst>
          </p:cNvPr>
          <p:cNvSpPr/>
          <p:nvPr userDrawn="1"/>
        </p:nvSpPr>
        <p:spPr bwMode="auto">
          <a:xfrm>
            <a:off x="486648" y="4691005"/>
            <a:ext cx="1374567" cy="54949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 1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D6C4A0DA-BA87-9B1A-CA99-0DC2CF4DFA1D}"/>
              </a:ext>
            </a:extLst>
          </p:cNvPr>
          <p:cNvSpPr/>
          <p:nvPr userDrawn="1"/>
        </p:nvSpPr>
        <p:spPr bwMode="auto">
          <a:xfrm>
            <a:off x="1894245" y="4691007"/>
            <a:ext cx="2656598" cy="549499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C6E5367C-80A6-1815-CE31-A0BDC968C595}"/>
              </a:ext>
            </a:extLst>
          </p:cNvPr>
          <p:cNvSpPr/>
          <p:nvPr userDrawn="1"/>
        </p:nvSpPr>
        <p:spPr bwMode="auto">
          <a:xfrm>
            <a:off x="4583873" y="4691007"/>
            <a:ext cx="1241905" cy="549497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A606AA40-5B16-D791-DA5E-80B684D9D312}"/>
              </a:ext>
            </a:extLst>
          </p:cNvPr>
          <p:cNvSpPr/>
          <p:nvPr userDrawn="1"/>
        </p:nvSpPr>
        <p:spPr bwMode="auto">
          <a:xfrm>
            <a:off x="485504" y="5284311"/>
            <a:ext cx="1374567" cy="54949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print 1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2C2D5337-3E7B-3570-3A9A-A4ABFC8B3252}"/>
              </a:ext>
            </a:extLst>
          </p:cNvPr>
          <p:cNvSpPr/>
          <p:nvPr userDrawn="1"/>
        </p:nvSpPr>
        <p:spPr bwMode="auto">
          <a:xfrm>
            <a:off x="1893101" y="5284313"/>
            <a:ext cx="2656598" cy="549499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73C7805C-7D0C-9709-C207-1046F78FE3F5}"/>
              </a:ext>
            </a:extLst>
          </p:cNvPr>
          <p:cNvSpPr/>
          <p:nvPr userDrawn="1"/>
        </p:nvSpPr>
        <p:spPr bwMode="auto">
          <a:xfrm>
            <a:off x="4582729" y="5284313"/>
            <a:ext cx="1241905" cy="549497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794418F2-1663-974C-97FE-DF2647C4056F}"/>
              </a:ext>
            </a:extLst>
          </p:cNvPr>
          <p:cNvSpPr/>
          <p:nvPr userDrawn="1"/>
        </p:nvSpPr>
        <p:spPr bwMode="auto">
          <a:xfrm>
            <a:off x="6556208" y="4307088"/>
            <a:ext cx="3637040" cy="18994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Type of open innovation (in the case of open innovation model)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:</a:t>
            </a:r>
          </a:p>
        </p:txBody>
      </p:sp>
      <p:sp>
        <p:nvSpPr>
          <p:cNvPr id="65" name="Retângulo 64">
            <a:extLst>
              <a:ext uri="{FF2B5EF4-FFF2-40B4-BE49-F238E27FC236}">
                <a16:creationId xmlns:a16="http://schemas.microsoft.com/office/drawing/2014/main" id="{1CDE9C28-FBB7-2730-06DA-A011828E546D}"/>
              </a:ext>
            </a:extLst>
          </p:cNvPr>
          <p:cNvSpPr/>
          <p:nvPr userDrawn="1"/>
        </p:nvSpPr>
        <p:spPr bwMode="auto">
          <a:xfrm>
            <a:off x="6657595" y="5067474"/>
            <a:ext cx="216024" cy="216024"/>
          </a:xfrm>
          <a:prstGeom prst="rect">
            <a:avLst/>
          </a:prstGeom>
          <a:solidFill>
            <a:srgbClr val="F1F0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54BB8ACA-E24D-11FD-81F4-5B7C9EEE5FD3}"/>
              </a:ext>
            </a:extLst>
          </p:cNvPr>
          <p:cNvSpPr txBox="1"/>
          <p:nvPr userDrawn="1"/>
        </p:nvSpPr>
        <p:spPr>
          <a:xfrm>
            <a:off x="6918906" y="5036986"/>
            <a:ext cx="599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0" dirty="0"/>
              <a:t>Hiring</a:t>
            </a: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A5F8525C-1B4A-AC01-C19B-669CF3C49C66}"/>
              </a:ext>
            </a:extLst>
          </p:cNvPr>
          <p:cNvSpPr/>
          <p:nvPr userDrawn="1"/>
        </p:nvSpPr>
        <p:spPr bwMode="auto">
          <a:xfrm>
            <a:off x="6664169" y="5344473"/>
            <a:ext cx="216024" cy="216024"/>
          </a:xfrm>
          <a:prstGeom prst="rect">
            <a:avLst/>
          </a:prstGeom>
          <a:solidFill>
            <a:srgbClr val="F1F0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FB912524-CF03-93BC-2805-E98D05D2A874}"/>
              </a:ext>
            </a:extLst>
          </p:cNvPr>
          <p:cNvSpPr txBox="1"/>
          <p:nvPr userDrawn="1"/>
        </p:nvSpPr>
        <p:spPr>
          <a:xfrm>
            <a:off x="6925480" y="5313985"/>
            <a:ext cx="9829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0" dirty="0"/>
              <a:t>Partnership</a:t>
            </a: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31C8C4D6-53FD-32F0-9524-2AB20112B69F}"/>
              </a:ext>
            </a:extLst>
          </p:cNvPr>
          <p:cNvSpPr/>
          <p:nvPr userDrawn="1"/>
        </p:nvSpPr>
        <p:spPr bwMode="auto">
          <a:xfrm>
            <a:off x="6651961" y="5640841"/>
            <a:ext cx="216024" cy="216024"/>
          </a:xfrm>
          <a:prstGeom prst="rect">
            <a:avLst/>
          </a:prstGeom>
          <a:solidFill>
            <a:srgbClr val="F1F0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CE2775BD-9DA9-46F4-F713-D6243278B374}"/>
              </a:ext>
            </a:extLst>
          </p:cNvPr>
          <p:cNvSpPr txBox="1"/>
          <p:nvPr userDrawn="1"/>
        </p:nvSpPr>
        <p:spPr>
          <a:xfrm>
            <a:off x="6913272" y="5610353"/>
            <a:ext cx="13404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0" dirty="0"/>
              <a:t>Co-development</a:t>
            </a: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907A0179-8FEB-44DB-7E8B-91F5A1AC7DEC}"/>
              </a:ext>
            </a:extLst>
          </p:cNvPr>
          <p:cNvSpPr/>
          <p:nvPr userDrawn="1"/>
        </p:nvSpPr>
        <p:spPr bwMode="auto">
          <a:xfrm>
            <a:off x="6651961" y="5919285"/>
            <a:ext cx="216024" cy="216024"/>
          </a:xfrm>
          <a:prstGeom prst="rect">
            <a:avLst/>
          </a:prstGeom>
          <a:solidFill>
            <a:srgbClr val="F1F0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28C3D44A-B5FA-883D-DD33-BBBE0D5EA497}"/>
              </a:ext>
            </a:extLst>
          </p:cNvPr>
          <p:cNvSpPr txBox="1"/>
          <p:nvPr userDrawn="1"/>
        </p:nvSpPr>
        <p:spPr>
          <a:xfrm>
            <a:off x="6913272" y="5888797"/>
            <a:ext cx="10005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0"/>
              <a:t>Co-creation</a:t>
            </a:r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1692091247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36550" y="1844677"/>
            <a:ext cx="11504367" cy="453707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2138BFA-51CA-7996-0723-12811B3C0642}"/>
              </a:ext>
            </a:extLst>
          </p:cNvPr>
          <p:cNvSpPr/>
          <p:nvPr userDrawn="1"/>
        </p:nvSpPr>
        <p:spPr bwMode="auto">
          <a:xfrm>
            <a:off x="323916" y="1844824"/>
            <a:ext cx="11532724" cy="453650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8BDEE11-8F60-C35D-C658-9ECF86F06C49}"/>
              </a:ext>
            </a:extLst>
          </p:cNvPr>
          <p:cNvSpPr/>
          <p:nvPr userDrawn="1"/>
        </p:nvSpPr>
        <p:spPr bwMode="auto">
          <a:xfrm>
            <a:off x="407368" y="1974299"/>
            <a:ext cx="5667522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Reporting frequency: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4075BF3-F5E5-0424-43A4-420CD3FA72D0}"/>
              </a:ext>
            </a:extLst>
          </p:cNvPr>
          <p:cNvSpPr/>
          <p:nvPr userDrawn="1"/>
        </p:nvSpPr>
        <p:spPr bwMode="auto">
          <a:xfrm>
            <a:off x="6183598" y="1974298"/>
            <a:ext cx="5525549" cy="389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 Leader: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EE30CA6-923A-D682-FE53-08A09D5EAADD}"/>
              </a:ext>
            </a:extLst>
          </p:cNvPr>
          <p:cNvSpPr/>
          <p:nvPr userDrawn="1"/>
        </p:nvSpPr>
        <p:spPr bwMode="auto">
          <a:xfrm>
            <a:off x="4643696" y="2454724"/>
            <a:ext cx="1431194" cy="1295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ain or Opportunity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:</a:t>
            </a:r>
          </a:p>
        </p:txBody>
      </p: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7B6ED5B8-0316-B1B7-7E4A-19021EC40746}"/>
              </a:ext>
            </a:extLst>
          </p:cNvPr>
          <p:cNvGrpSpPr/>
          <p:nvPr userDrawn="1"/>
        </p:nvGrpSpPr>
        <p:grpSpPr>
          <a:xfrm>
            <a:off x="4723860" y="3031737"/>
            <a:ext cx="1259709" cy="585094"/>
            <a:chOff x="6241948" y="2518143"/>
            <a:chExt cx="1259709" cy="585094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375BE6E4-733F-8F4A-F282-F5DDD2952104}"/>
                </a:ext>
              </a:extLst>
            </p:cNvPr>
            <p:cNvSpPr/>
            <p:nvPr userDrawn="1"/>
          </p:nvSpPr>
          <p:spPr bwMode="auto">
            <a:xfrm>
              <a:off x="6241948" y="2548631"/>
              <a:ext cx="216024" cy="216024"/>
            </a:xfrm>
            <a:prstGeom prst="rect">
              <a:avLst/>
            </a:prstGeom>
            <a:solidFill>
              <a:srgbClr val="F1F0E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13A4F7DC-B9C3-61F9-3488-FFC2ABF1034F}"/>
                </a:ext>
              </a:extLst>
            </p:cNvPr>
            <p:cNvSpPr/>
            <p:nvPr userDrawn="1"/>
          </p:nvSpPr>
          <p:spPr bwMode="auto">
            <a:xfrm>
              <a:off x="6241948" y="2873928"/>
              <a:ext cx="216024" cy="216024"/>
            </a:xfrm>
            <a:prstGeom prst="rect">
              <a:avLst/>
            </a:prstGeom>
            <a:solidFill>
              <a:srgbClr val="F1F0E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7AD571FA-4089-147D-1127-CD179B5BB261}"/>
                </a:ext>
              </a:extLst>
            </p:cNvPr>
            <p:cNvSpPr txBox="1"/>
            <p:nvPr userDrawn="1"/>
          </p:nvSpPr>
          <p:spPr>
            <a:xfrm>
              <a:off x="6470606" y="2518143"/>
              <a:ext cx="4828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b="0" dirty="0"/>
                <a:t>Pain</a:t>
              </a: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902E2DB1-608E-A964-A1D9-42FC7AC3A737}"/>
                </a:ext>
              </a:extLst>
            </p:cNvPr>
            <p:cNvSpPr txBox="1"/>
            <p:nvPr userDrawn="1"/>
          </p:nvSpPr>
          <p:spPr>
            <a:xfrm>
              <a:off x="6470606" y="2826238"/>
              <a:ext cx="10310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b="0" dirty="0"/>
                <a:t>Opportunity</a:t>
              </a:r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9E64F9EA-6F06-C550-DE43-AF4CB7B2FC6C}"/>
              </a:ext>
            </a:extLst>
          </p:cNvPr>
          <p:cNvGrpSpPr/>
          <p:nvPr userDrawn="1"/>
        </p:nvGrpSpPr>
        <p:grpSpPr>
          <a:xfrm>
            <a:off x="6183599" y="2454724"/>
            <a:ext cx="5525548" cy="1470280"/>
            <a:chOff x="3474426" y="2325932"/>
            <a:chExt cx="4647197" cy="1463108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E9A4237E-F4D0-1AB6-5790-10C42BB022B1}"/>
                </a:ext>
              </a:extLst>
            </p:cNvPr>
            <p:cNvSpPr/>
            <p:nvPr userDrawn="1"/>
          </p:nvSpPr>
          <p:spPr bwMode="auto">
            <a:xfrm>
              <a:off x="3474426" y="2325932"/>
              <a:ext cx="4647197" cy="14631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Team:</a:t>
              </a:r>
            </a:p>
          </p:txBody>
        </p: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C1CFE33E-6432-BCDC-2CD7-51D0AC7F42EB}"/>
                </a:ext>
              </a:extLst>
            </p:cNvPr>
            <p:cNvSpPr txBox="1"/>
            <p:nvPr userDrawn="1"/>
          </p:nvSpPr>
          <p:spPr>
            <a:xfrm>
              <a:off x="4045670" y="2358892"/>
              <a:ext cx="938077" cy="1323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Dsf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sas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f</a:t>
              </a:r>
              <a:endParaRPr lang="en-US" b="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b="0" dirty="0" err="1"/>
                <a:t>afaf</a:t>
              </a:r>
              <a:endParaRPr lang="en-US" b="0" dirty="0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702D4DCD-3221-A325-5C48-400EC71FAE57}"/>
                </a:ext>
              </a:extLst>
            </p:cNvPr>
            <p:cNvSpPr/>
            <p:nvPr userDrawn="1"/>
          </p:nvSpPr>
          <p:spPr bwMode="auto">
            <a:xfrm>
              <a:off x="4295800" y="2419839"/>
              <a:ext cx="3825823" cy="129545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endParaRPr>
            </a:p>
          </p:txBody>
        </p:sp>
      </p:grpSp>
      <p:sp>
        <p:nvSpPr>
          <p:cNvPr id="24" name="Retângulo 23">
            <a:extLst>
              <a:ext uri="{FF2B5EF4-FFF2-40B4-BE49-F238E27FC236}">
                <a16:creationId xmlns:a16="http://schemas.microsoft.com/office/drawing/2014/main" id="{13433D18-0A39-3E92-5728-C2D920E45A1D}"/>
              </a:ext>
            </a:extLst>
          </p:cNvPr>
          <p:cNvSpPr/>
          <p:nvPr userDrawn="1"/>
        </p:nvSpPr>
        <p:spPr bwMode="auto">
          <a:xfrm>
            <a:off x="413501" y="5013176"/>
            <a:ext cx="5661389" cy="12195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tate of art solution: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7FFA6681-F328-29D7-A8A5-F0AF0BE2026C}"/>
              </a:ext>
            </a:extLst>
          </p:cNvPr>
          <p:cNvSpPr/>
          <p:nvPr userDrawn="1"/>
        </p:nvSpPr>
        <p:spPr bwMode="auto">
          <a:xfrm>
            <a:off x="407368" y="2454724"/>
            <a:ext cx="4179558" cy="1295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Project Motivation:</a:t>
            </a:r>
          </a:p>
        </p:txBody>
      </p: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C093A980-3332-9702-FA8C-6FF38BCDA58D}"/>
              </a:ext>
            </a:extLst>
          </p:cNvPr>
          <p:cNvGrpSpPr/>
          <p:nvPr userDrawn="1"/>
        </p:nvGrpSpPr>
        <p:grpSpPr>
          <a:xfrm>
            <a:off x="6183598" y="4024790"/>
            <a:ext cx="5525549" cy="2206336"/>
            <a:chOff x="463135" y="3886673"/>
            <a:chExt cx="5525549" cy="2206336"/>
          </a:xfrm>
        </p:grpSpPr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645D19E3-6824-874F-21F3-01BA77ACAFB5}"/>
                </a:ext>
              </a:extLst>
            </p:cNvPr>
            <p:cNvSpPr/>
            <p:nvPr userDrawn="1"/>
          </p:nvSpPr>
          <p:spPr bwMode="auto">
            <a:xfrm>
              <a:off x="463135" y="3886673"/>
              <a:ext cx="5525549" cy="22063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Expected Results:</a:t>
              </a:r>
            </a:p>
          </p:txBody>
        </p:sp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DCD90A7D-E164-6D8C-5C47-60B0BDF7C475}"/>
                </a:ext>
              </a:extLst>
            </p:cNvPr>
            <p:cNvGrpSpPr/>
            <p:nvPr userDrawn="1"/>
          </p:nvGrpSpPr>
          <p:grpSpPr>
            <a:xfrm>
              <a:off x="548425" y="3986459"/>
              <a:ext cx="5331552" cy="2006763"/>
              <a:chOff x="531177" y="3946311"/>
              <a:chExt cx="5337737" cy="2006763"/>
            </a:xfrm>
          </p:grpSpPr>
          <p:grpSp>
            <p:nvGrpSpPr>
              <p:cNvPr id="31" name="Agrupar 30">
                <a:extLst>
                  <a:ext uri="{FF2B5EF4-FFF2-40B4-BE49-F238E27FC236}">
                    <a16:creationId xmlns:a16="http://schemas.microsoft.com/office/drawing/2014/main" id="{C03792A2-CA42-E549-6D1A-715ECB1402F8}"/>
                  </a:ext>
                </a:extLst>
              </p:cNvPr>
              <p:cNvGrpSpPr/>
              <p:nvPr userDrawn="1"/>
            </p:nvGrpSpPr>
            <p:grpSpPr>
              <a:xfrm>
                <a:off x="531177" y="4268965"/>
                <a:ext cx="1308873" cy="1684109"/>
                <a:chOff x="531177" y="4268965"/>
                <a:chExt cx="1308873" cy="1684109"/>
              </a:xfrm>
            </p:grpSpPr>
            <p:sp>
              <p:nvSpPr>
                <p:cNvPr id="20" name="Retângulo 19">
                  <a:extLst>
                    <a:ext uri="{FF2B5EF4-FFF2-40B4-BE49-F238E27FC236}">
                      <a16:creationId xmlns:a16="http://schemas.microsoft.com/office/drawing/2014/main" id="{74CE0D0E-F391-8605-9E79-D8D786BAD691}"/>
                    </a:ext>
                  </a:extLst>
                </p:cNvPr>
                <p:cNvSpPr/>
                <p:nvPr userDrawn="1"/>
              </p:nvSpPr>
              <p:spPr bwMode="auto">
                <a:xfrm>
                  <a:off x="531177" y="4268965"/>
                  <a:ext cx="1308872" cy="817575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Quantitative</a:t>
                  </a:r>
                </a:p>
              </p:txBody>
            </p:sp>
            <p:sp>
              <p:nvSpPr>
                <p:cNvPr id="21" name="Retângulo 20">
                  <a:extLst>
                    <a:ext uri="{FF2B5EF4-FFF2-40B4-BE49-F238E27FC236}">
                      <a16:creationId xmlns:a16="http://schemas.microsoft.com/office/drawing/2014/main" id="{B3018E20-0DD1-78C2-FA0B-944BD9AEE714}"/>
                    </a:ext>
                  </a:extLst>
                </p:cNvPr>
                <p:cNvSpPr/>
                <p:nvPr userDrawn="1"/>
              </p:nvSpPr>
              <p:spPr bwMode="auto">
                <a:xfrm>
                  <a:off x="531178" y="5135500"/>
                  <a:ext cx="1308872" cy="81757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Qualitative</a:t>
                  </a:r>
                </a:p>
              </p:txBody>
            </p:sp>
          </p:grpSp>
          <p:grpSp>
            <p:nvGrpSpPr>
              <p:cNvPr id="30" name="Agrupar 29">
                <a:extLst>
                  <a:ext uri="{FF2B5EF4-FFF2-40B4-BE49-F238E27FC236}">
                    <a16:creationId xmlns:a16="http://schemas.microsoft.com/office/drawing/2014/main" id="{427FE9C7-AFF9-B479-C5E2-73B069227DBD}"/>
                  </a:ext>
                </a:extLst>
              </p:cNvPr>
              <p:cNvGrpSpPr/>
              <p:nvPr userDrawn="1"/>
            </p:nvGrpSpPr>
            <p:grpSpPr>
              <a:xfrm>
                <a:off x="1910266" y="3946311"/>
                <a:ext cx="1944216" cy="2006763"/>
                <a:chOff x="1886243" y="3943157"/>
                <a:chExt cx="1944216" cy="2006763"/>
              </a:xfrm>
            </p:grpSpPr>
            <p:sp>
              <p:nvSpPr>
                <p:cNvPr id="18" name="Retângulo 17">
                  <a:extLst>
                    <a:ext uri="{FF2B5EF4-FFF2-40B4-BE49-F238E27FC236}">
                      <a16:creationId xmlns:a16="http://schemas.microsoft.com/office/drawing/2014/main" id="{E82218E7-3039-AC24-6871-ACBEAF7C1D97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3943157"/>
                  <a:ext cx="1944216" cy="28729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Current State</a:t>
                  </a:r>
                </a:p>
              </p:txBody>
            </p:sp>
            <p:sp>
              <p:nvSpPr>
                <p:cNvPr id="22" name="Retângulo 21">
                  <a:extLst>
                    <a:ext uri="{FF2B5EF4-FFF2-40B4-BE49-F238E27FC236}">
                      <a16:creationId xmlns:a16="http://schemas.microsoft.com/office/drawing/2014/main" id="{1F7C3298-3D15-79B8-D726-9747DDC9EA43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4276437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  <p:sp>
              <p:nvSpPr>
                <p:cNvPr id="23" name="Retângulo 22">
                  <a:extLst>
                    <a:ext uri="{FF2B5EF4-FFF2-40B4-BE49-F238E27FC236}">
                      <a16:creationId xmlns:a16="http://schemas.microsoft.com/office/drawing/2014/main" id="{D8A5B45F-17FD-E96C-6D0C-694DB1776BF9}"/>
                    </a:ext>
                  </a:extLst>
                </p:cNvPr>
                <p:cNvSpPr/>
                <p:nvPr userDrawn="1"/>
              </p:nvSpPr>
              <p:spPr bwMode="auto">
                <a:xfrm>
                  <a:off x="1886243" y="5132345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</p:grpSp>
          <p:grpSp>
            <p:nvGrpSpPr>
              <p:cNvPr id="29" name="Agrupar 28">
                <a:extLst>
                  <a:ext uri="{FF2B5EF4-FFF2-40B4-BE49-F238E27FC236}">
                    <a16:creationId xmlns:a16="http://schemas.microsoft.com/office/drawing/2014/main" id="{DCC822D2-9C26-230D-FB2C-218C9873CA20}"/>
                  </a:ext>
                </a:extLst>
              </p:cNvPr>
              <p:cNvGrpSpPr/>
              <p:nvPr userDrawn="1"/>
            </p:nvGrpSpPr>
            <p:grpSpPr>
              <a:xfrm>
                <a:off x="3924698" y="3946311"/>
                <a:ext cx="1944216" cy="2006763"/>
                <a:chOff x="3924698" y="3943157"/>
                <a:chExt cx="1944216" cy="2006763"/>
              </a:xfrm>
            </p:grpSpPr>
            <p:sp>
              <p:nvSpPr>
                <p:cNvPr id="19" name="Retângulo 18">
                  <a:extLst>
                    <a:ext uri="{FF2B5EF4-FFF2-40B4-BE49-F238E27FC236}">
                      <a16:creationId xmlns:a16="http://schemas.microsoft.com/office/drawing/2014/main" id="{23DCC867-3690-8EE6-9687-8EE7DD738450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3943157"/>
                  <a:ext cx="1944216" cy="28729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Univers" pitchFamily="34" charset="0"/>
                    </a:rPr>
                    <a:t>Future State</a:t>
                  </a:r>
                </a:p>
              </p:txBody>
            </p:sp>
            <p:sp>
              <p:nvSpPr>
                <p:cNvPr id="26" name="Retângulo 25">
                  <a:extLst>
                    <a:ext uri="{FF2B5EF4-FFF2-40B4-BE49-F238E27FC236}">
                      <a16:creationId xmlns:a16="http://schemas.microsoft.com/office/drawing/2014/main" id="{A6F5CCAF-DF45-2CC0-7C13-DDBC6A5923BF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4281596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  <p:sp>
              <p:nvSpPr>
                <p:cNvPr id="27" name="Retângulo 26">
                  <a:extLst>
                    <a:ext uri="{FF2B5EF4-FFF2-40B4-BE49-F238E27FC236}">
                      <a16:creationId xmlns:a16="http://schemas.microsoft.com/office/drawing/2014/main" id="{77A3EDC2-FE64-402B-5C5F-D088F3185C4D}"/>
                    </a:ext>
                  </a:extLst>
                </p:cNvPr>
                <p:cNvSpPr/>
                <p:nvPr userDrawn="1"/>
              </p:nvSpPr>
              <p:spPr bwMode="auto">
                <a:xfrm>
                  <a:off x="3924698" y="5132345"/>
                  <a:ext cx="1944216" cy="817575"/>
                </a:xfrm>
                <a:prstGeom prst="rect">
                  <a:avLst/>
                </a:prstGeom>
                <a:solidFill>
                  <a:srgbClr val="F1F0E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72000" rIns="72000" bIns="72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endParaRPr>
                </a:p>
              </p:txBody>
            </p:sp>
          </p:grpSp>
        </p:grpSp>
      </p:grpSp>
      <p:sp>
        <p:nvSpPr>
          <p:cNvPr id="28" name="Retângulo 27">
            <a:extLst>
              <a:ext uri="{FF2B5EF4-FFF2-40B4-BE49-F238E27FC236}">
                <a16:creationId xmlns:a16="http://schemas.microsoft.com/office/drawing/2014/main" id="{914317AC-6FA3-5E17-D4E9-FBBD81D90321}"/>
              </a:ext>
            </a:extLst>
          </p:cNvPr>
          <p:cNvSpPr/>
          <p:nvPr userDrawn="1"/>
        </p:nvSpPr>
        <p:spPr bwMode="auto">
          <a:xfrm>
            <a:off x="407368" y="3841760"/>
            <a:ext cx="2101321" cy="108004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Expected duration:</a:t>
            </a:r>
          </a:p>
        </p:txBody>
      </p: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A228A07B-CFBF-4363-DC56-1CEB315C31DF}"/>
              </a:ext>
            </a:extLst>
          </p:cNvPr>
          <p:cNvGrpSpPr/>
          <p:nvPr userDrawn="1"/>
        </p:nvGrpSpPr>
        <p:grpSpPr>
          <a:xfrm>
            <a:off x="2578825" y="3842240"/>
            <a:ext cx="3496065" cy="1080048"/>
            <a:chOff x="3550020" y="3733031"/>
            <a:chExt cx="3496065" cy="1080048"/>
          </a:xfrm>
        </p:grpSpPr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649E9395-E873-A79F-D5A4-68E2752C755F}"/>
                </a:ext>
              </a:extLst>
            </p:cNvPr>
            <p:cNvSpPr/>
            <p:nvPr userDrawn="1"/>
          </p:nvSpPr>
          <p:spPr bwMode="auto">
            <a:xfrm>
              <a:off x="3550020" y="3733031"/>
              <a:ext cx="3496065" cy="108004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rPr>
                <a:t>Investment:</a:t>
              </a:r>
            </a:p>
          </p:txBody>
        </p:sp>
        <p:grpSp>
          <p:nvGrpSpPr>
            <p:cNvPr id="49" name="Agrupar 48">
              <a:extLst>
                <a:ext uri="{FF2B5EF4-FFF2-40B4-BE49-F238E27FC236}">
                  <a16:creationId xmlns:a16="http://schemas.microsoft.com/office/drawing/2014/main" id="{EF8803B8-A0A1-391F-5103-6ED6FB489097}"/>
                </a:ext>
              </a:extLst>
            </p:cNvPr>
            <p:cNvGrpSpPr/>
            <p:nvPr userDrawn="1"/>
          </p:nvGrpSpPr>
          <p:grpSpPr>
            <a:xfrm>
              <a:off x="3635797" y="4023118"/>
              <a:ext cx="3318967" cy="694995"/>
              <a:chOff x="3635310" y="4155472"/>
              <a:chExt cx="3318967" cy="694995"/>
            </a:xfrm>
          </p:grpSpPr>
          <p:sp>
            <p:nvSpPr>
              <p:cNvPr id="47" name="Retângulo 46">
                <a:extLst>
                  <a:ext uri="{FF2B5EF4-FFF2-40B4-BE49-F238E27FC236}">
                    <a16:creationId xmlns:a16="http://schemas.microsoft.com/office/drawing/2014/main" id="{DA34BF63-6703-EA2B-B68E-5FCA74EF5466}"/>
                  </a:ext>
                </a:extLst>
              </p:cNvPr>
              <p:cNvSpPr/>
              <p:nvPr userDrawn="1"/>
            </p:nvSpPr>
            <p:spPr bwMode="auto">
              <a:xfrm>
                <a:off x="3635310" y="4155472"/>
                <a:ext cx="1307355" cy="327298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rPr>
                  <a:t>Budget</a:t>
                </a:r>
              </a:p>
            </p:txBody>
          </p:sp>
          <p:sp>
            <p:nvSpPr>
              <p:cNvPr id="48" name="Retângulo 47">
                <a:extLst>
                  <a:ext uri="{FF2B5EF4-FFF2-40B4-BE49-F238E27FC236}">
                    <a16:creationId xmlns:a16="http://schemas.microsoft.com/office/drawing/2014/main" id="{D556A544-DCBD-12F6-F7CE-D1F730DCEEEA}"/>
                  </a:ext>
                </a:extLst>
              </p:cNvPr>
              <p:cNvSpPr/>
              <p:nvPr userDrawn="1"/>
            </p:nvSpPr>
            <p:spPr bwMode="auto">
              <a:xfrm>
                <a:off x="3635310" y="4523170"/>
                <a:ext cx="1307355" cy="327297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Univers" pitchFamily="34" charset="0"/>
                  </a:rPr>
                  <a:t>Project Hours</a:t>
                </a:r>
              </a:p>
            </p:txBody>
          </p:sp>
          <p:sp>
            <p:nvSpPr>
              <p:cNvPr id="45" name="Retângulo 44">
                <a:extLst>
                  <a:ext uri="{FF2B5EF4-FFF2-40B4-BE49-F238E27FC236}">
                    <a16:creationId xmlns:a16="http://schemas.microsoft.com/office/drawing/2014/main" id="{3A0A4B0E-C37F-AE47-7F9A-4EED9E4CA22F}"/>
                  </a:ext>
                </a:extLst>
              </p:cNvPr>
              <p:cNvSpPr/>
              <p:nvPr userDrawn="1"/>
            </p:nvSpPr>
            <p:spPr bwMode="auto">
              <a:xfrm>
                <a:off x="5012314" y="4155472"/>
                <a:ext cx="1941963" cy="327298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  <p:sp>
            <p:nvSpPr>
              <p:cNvPr id="46" name="Retângulo 45">
                <a:extLst>
                  <a:ext uri="{FF2B5EF4-FFF2-40B4-BE49-F238E27FC236}">
                    <a16:creationId xmlns:a16="http://schemas.microsoft.com/office/drawing/2014/main" id="{65FFB4A1-EBB4-61DB-5804-57D34D57A307}"/>
                  </a:ext>
                </a:extLst>
              </p:cNvPr>
              <p:cNvSpPr/>
              <p:nvPr userDrawn="1"/>
            </p:nvSpPr>
            <p:spPr bwMode="auto">
              <a:xfrm>
                <a:off x="5012314" y="4524701"/>
                <a:ext cx="1941963" cy="325766"/>
              </a:xfrm>
              <a:prstGeom prst="rect">
                <a:avLst/>
              </a:prstGeom>
              <a:solidFill>
                <a:srgbClr val="F1F0E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Univers" pitchFamily="34" charset="0"/>
                </a:endParaRPr>
              </a:p>
            </p:txBody>
          </p:sp>
        </p:grpSp>
      </p:grpSp>
      <p:sp>
        <p:nvSpPr>
          <p:cNvPr id="16" name="Retângulo 15">
            <a:extLst>
              <a:ext uri="{FF2B5EF4-FFF2-40B4-BE49-F238E27FC236}">
                <a16:creationId xmlns:a16="http://schemas.microsoft.com/office/drawing/2014/main" id="{0BC35DCC-386B-31F5-62B3-5D400BEEF7B6}"/>
              </a:ext>
            </a:extLst>
          </p:cNvPr>
          <p:cNvSpPr/>
          <p:nvPr userDrawn="1"/>
        </p:nvSpPr>
        <p:spPr bwMode="auto">
          <a:xfrm>
            <a:off x="6096000" y="332656"/>
            <a:ext cx="2952328" cy="1361819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tep 2 (Sprint report) – under discussion</a:t>
            </a:r>
          </a:p>
        </p:txBody>
      </p:sp>
    </p:spTree>
    <p:extLst>
      <p:ext uri="{BB962C8B-B14F-4D97-AF65-F5344CB8AC3E}">
        <p14:creationId xmlns:p14="http://schemas.microsoft.com/office/powerpoint/2010/main" val="3392235498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336550" y="1844677"/>
            <a:ext cx="11504367" cy="453707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2138BFA-51CA-7996-0723-12811B3C0642}"/>
              </a:ext>
            </a:extLst>
          </p:cNvPr>
          <p:cNvSpPr/>
          <p:nvPr userDrawn="1"/>
        </p:nvSpPr>
        <p:spPr bwMode="auto">
          <a:xfrm>
            <a:off x="323916" y="1856324"/>
            <a:ext cx="11532724" cy="4536504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84075BF3-F5E5-0424-43A4-420CD3FA72D0}"/>
              </a:ext>
            </a:extLst>
          </p:cNvPr>
          <p:cNvSpPr/>
          <p:nvPr userDrawn="1"/>
        </p:nvSpPr>
        <p:spPr bwMode="auto">
          <a:xfrm>
            <a:off x="6095998" y="1974298"/>
            <a:ext cx="5613149" cy="16707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Results Achieved: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7FFA6681-F328-29D7-A8A5-F0AF0BE2026C}"/>
              </a:ext>
            </a:extLst>
          </p:cNvPr>
          <p:cNvSpPr/>
          <p:nvPr userDrawn="1"/>
        </p:nvSpPr>
        <p:spPr bwMode="auto">
          <a:xfrm>
            <a:off x="404398" y="1974298"/>
            <a:ext cx="5613149" cy="167072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Situation Before Project: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914317AC-6FA3-5E17-D4E9-FBBD81D90321}"/>
              </a:ext>
            </a:extLst>
          </p:cNvPr>
          <p:cNvSpPr/>
          <p:nvPr userDrawn="1"/>
        </p:nvSpPr>
        <p:spPr bwMode="auto">
          <a:xfrm>
            <a:off x="407368" y="3762998"/>
            <a:ext cx="11301779" cy="25463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Lessons Learned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74CE0D0E-F391-8605-9E79-D8D786BAD691}"/>
              </a:ext>
            </a:extLst>
          </p:cNvPr>
          <p:cNvSpPr/>
          <p:nvPr userDrawn="1"/>
        </p:nvSpPr>
        <p:spPr bwMode="auto">
          <a:xfrm>
            <a:off x="512445" y="4418043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1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B3018E20-0DD1-78C2-FA0B-944BD9AEE714}"/>
              </a:ext>
            </a:extLst>
          </p:cNvPr>
          <p:cNvSpPr/>
          <p:nvPr userDrawn="1"/>
        </p:nvSpPr>
        <p:spPr bwMode="auto">
          <a:xfrm>
            <a:off x="512445" y="4728657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2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E82218E7-3039-AC24-6871-ACBEAF7C1D97}"/>
              </a:ext>
            </a:extLst>
          </p:cNvPr>
          <p:cNvSpPr/>
          <p:nvPr userDrawn="1"/>
        </p:nvSpPr>
        <p:spPr bwMode="auto">
          <a:xfrm>
            <a:off x="516339" y="4081293"/>
            <a:ext cx="5444625" cy="28729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Misse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1F7C3298-3D15-79B8-D726-9747DDC9EA43}"/>
              </a:ext>
            </a:extLst>
          </p:cNvPr>
          <p:cNvSpPr/>
          <p:nvPr userDrawn="1"/>
        </p:nvSpPr>
        <p:spPr bwMode="auto">
          <a:xfrm>
            <a:off x="828983" y="4433827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3DCC867-3690-8EE6-9687-8EE7DD738450}"/>
              </a:ext>
            </a:extLst>
          </p:cNvPr>
          <p:cNvSpPr/>
          <p:nvPr userDrawn="1"/>
        </p:nvSpPr>
        <p:spPr bwMode="auto">
          <a:xfrm>
            <a:off x="6123983" y="4077859"/>
            <a:ext cx="5444625" cy="28729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Hits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C8F09127-7D93-8B1C-C4A8-FEB026A9F8DC}"/>
              </a:ext>
            </a:extLst>
          </p:cNvPr>
          <p:cNvSpPr/>
          <p:nvPr userDrawn="1"/>
        </p:nvSpPr>
        <p:spPr bwMode="auto">
          <a:xfrm>
            <a:off x="512445" y="5039271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3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BB11B6F2-681F-7A35-D51F-B8A99DE39701}"/>
              </a:ext>
            </a:extLst>
          </p:cNvPr>
          <p:cNvSpPr/>
          <p:nvPr userDrawn="1"/>
        </p:nvSpPr>
        <p:spPr bwMode="auto">
          <a:xfrm>
            <a:off x="512445" y="5349885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4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DF0E313F-0798-839A-0958-A02EAF6E26B8}"/>
              </a:ext>
            </a:extLst>
          </p:cNvPr>
          <p:cNvSpPr/>
          <p:nvPr userDrawn="1"/>
        </p:nvSpPr>
        <p:spPr bwMode="auto">
          <a:xfrm>
            <a:off x="512445" y="5660499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5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9BDB1035-C73F-D949-EB07-A2EE2A8895D5}"/>
              </a:ext>
            </a:extLst>
          </p:cNvPr>
          <p:cNvSpPr/>
          <p:nvPr userDrawn="1"/>
        </p:nvSpPr>
        <p:spPr bwMode="auto">
          <a:xfrm>
            <a:off x="512445" y="5971115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6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5E9B2A56-CF66-3DE2-2A2F-1107400A72ED}"/>
              </a:ext>
            </a:extLst>
          </p:cNvPr>
          <p:cNvSpPr/>
          <p:nvPr userDrawn="1"/>
        </p:nvSpPr>
        <p:spPr bwMode="auto">
          <a:xfrm>
            <a:off x="828983" y="4742186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5D9CD53-990F-C6DD-1F0E-9DD493B69152}"/>
              </a:ext>
            </a:extLst>
          </p:cNvPr>
          <p:cNvSpPr/>
          <p:nvPr userDrawn="1"/>
        </p:nvSpPr>
        <p:spPr bwMode="auto">
          <a:xfrm>
            <a:off x="828983" y="5050545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70D0BCC5-1A51-58A6-ED05-C8756E5E99F3}"/>
              </a:ext>
            </a:extLst>
          </p:cNvPr>
          <p:cNvSpPr/>
          <p:nvPr userDrawn="1"/>
        </p:nvSpPr>
        <p:spPr bwMode="auto">
          <a:xfrm>
            <a:off x="828983" y="5667263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0E3E9E6A-62E1-41C3-EBB2-DB6C1DB69381}"/>
              </a:ext>
            </a:extLst>
          </p:cNvPr>
          <p:cNvSpPr/>
          <p:nvPr userDrawn="1"/>
        </p:nvSpPr>
        <p:spPr bwMode="auto">
          <a:xfrm>
            <a:off x="828983" y="5975623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E7626C16-8164-54EF-8EAC-E4F02526BE9E}"/>
              </a:ext>
            </a:extLst>
          </p:cNvPr>
          <p:cNvSpPr/>
          <p:nvPr userDrawn="1"/>
        </p:nvSpPr>
        <p:spPr bwMode="auto">
          <a:xfrm>
            <a:off x="828983" y="5358904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65" name="Retângulo 64">
            <a:extLst>
              <a:ext uri="{FF2B5EF4-FFF2-40B4-BE49-F238E27FC236}">
                <a16:creationId xmlns:a16="http://schemas.microsoft.com/office/drawing/2014/main" id="{DE2568A3-5194-C06D-999A-AB318E0F6FF7}"/>
              </a:ext>
            </a:extLst>
          </p:cNvPr>
          <p:cNvSpPr/>
          <p:nvPr userDrawn="1"/>
        </p:nvSpPr>
        <p:spPr bwMode="auto">
          <a:xfrm>
            <a:off x="6123608" y="4429373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1</a:t>
            </a:r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C154143D-C8F8-F513-B795-C84EB209F2FC}"/>
              </a:ext>
            </a:extLst>
          </p:cNvPr>
          <p:cNvSpPr/>
          <p:nvPr userDrawn="1"/>
        </p:nvSpPr>
        <p:spPr bwMode="auto">
          <a:xfrm>
            <a:off x="6123608" y="4739987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2</a:t>
            </a: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1FD27B97-BAFD-07DB-31AC-6089160E8C87}"/>
              </a:ext>
            </a:extLst>
          </p:cNvPr>
          <p:cNvSpPr/>
          <p:nvPr userDrawn="1"/>
        </p:nvSpPr>
        <p:spPr bwMode="auto">
          <a:xfrm>
            <a:off x="6440146" y="4445157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68" name="Retângulo 67">
            <a:extLst>
              <a:ext uri="{FF2B5EF4-FFF2-40B4-BE49-F238E27FC236}">
                <a16:creationId xmlns:a16="http://schemas.microsoft.com/office/drawing/2014/main" id="{1EA4F75A-2AC8-C940-B8B1-0D0A79B9A1A2}"/>
              </a:ext>
            </a:extLst>
          </p:cNvPr>
          <p:cNvSpPr/>
          <p:nvPr userDrawn="1"/>
        </p:nvSpPr>
        <p:spPr bwMode="auto">
          <a:xfrm>
            <a:off x="6123608" y="5050601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3</a:t>
            </a: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E9CB9AB2-EA11-6972-F33B-D0DA7907D2E4}"/>
              </a:ext>
            </a:extLst>
          </p:cNvPr>
          <p:cNvSpPr/>
          <p:nvPr userDrawn="1"/>
        </p:nvSpPr>
        <p:spPr bwMode="auto">
          <a:xfrm>
            <a:off x="6123608" y="5361215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4</a:t>
            </a: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A1F07B76-47E2-8751-FD7C-46A38DE58EDF}"/>
              </a:ext>
            </a:extLst>
          </p:cNvPr>
          <p:cNvSpPr/>
          <p:nvPr userDrawn="1"/>
        </p:nvSpPr>
        <p:spPr bwMode="auto">
          <a:xfrm>
            <a:off x="6123608" y="5671829"/>
            <a:ext cx="260520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5</a:t>
            </a: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F93E7038-0E20-E252-D80A-C34245DACE7F}"/>
              </a:ext>
            </a:extLst>
          </p:cNvPr>
          <p:cNvSpPr/>
          <p:nvPr userDrawn="1"/>
        </p:nvSpPr>
        <p:spPr bwMode="auto">
          <a:xfrm>
            <a:off x="6123608" y="5982445"/>
            <a:ext cx="260522" cy="27791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Univers" pitchFamily="34" charset="0"/>
              </a:rPr>
              <a:t>6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id="{9A6FC4CB-17BC-012B-7319-BAD513BC44E2}"/>
              </a:ext>
            </a:extLst>
          </p:cNvPr>
          <p:cNvSpPr/>
          <p:nvPr userDrawn="1"/>
        </p:nvSpPr>
        <p:spPr bwMode="auto">
          <a:xfrm>
            <a:off x="6440146" y="4753516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3" name="Retângulo 72">
            <a:extLst>
              <a:ext uri="{FF2B5EF4-FFF2-40B4-BE49-F238E27FC236}">
                <a16:creationId xmlns:a16="http://schemas.microsoft.com/office/drawing/2014/main" id="{71E02686-A79B-6DB2-6FF0-2D450FDBE81C}"/>
              </a:ext>
            </a:extLst>
          </p:cNvPr>
          <p:cNvSpPr/>
          <p:nvPr userDrawn="1"/>
        </p:nvSpPr>
        <p:spPr bwMode="auto">
          <a:xfrm>
            <a:off x="6440146" y="5061875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4" name="Retângulo 73">
            <a:extLst>
              <a:ext uri="{FF2B5EF4-FFF2-40B4-BE49-F238E27FC236}">
                <a16:creationId xmlns:a16="http://schemas.microsoft.com/office/drawing/2014/main" id="{A7B1C3F9-6ED2-8740-FB0C-99C75F64BCE4}"/>
              </a:ext>
            </a:extLst>
          </p:cNvPr>
          <p:cNvSpPr/>
          <p:nvPr userDrawn="1"/>
        </p:nvSpPr>
        <p:spPr bwMode="auto">
          <a:xfrm>
            <a:off x="6440146" y="5678593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5" name="Retângulo 74">
            <a:extLst>
              <a:ext uri="{FF2B5EF4-FFF2-40B4-BE49-F238E27FC236}">
                <a16:creationId xmlns:a16="http://schemas.microsoft.com/office/drawing/2014/main" id="{C2865884-8AAE-9F6E-E3E9-ABF9D493AABB}"/>
              </a:ext>
            </a:extLst>
          </p:cNvPr>
          <p:cNvSpPr/>
          <p:nvPr userDrawn="1"/>
        </p:nvSpPr>
        <p:spPr bwMode="auto">
          <a:xfrm>
            <a:off x="6440146" y="5986953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488DE37C-09FF-BE23-8283-F8BB6466B64A}"/>
              </a:ext>
            </a:extLst>
          </p:cNvPr>
          <p:cNvSpPr/>
          <p:nvPr userDrawn="1"/>
        </p:nvSpPr>
        <p:spPr bwMode="auto">
          <a:xfrm>
            <a:off x="6440146" y="5370234"/>
            <a:ext cx="5131982" cy="253055"/>
          </a:xfrm>
          <a:prstGeom prst="rect">
            <a:avLst/>
          </a:prstGeom>
          <a:solidFill>
            <a:srgbClr val="F1F0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ver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688414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336550" y="1844677"/>
            <a:ext cx="5565912" cy="4537075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1"/>
          </p:nvPr>
        </p:nvSpPr>
        <p:spPr>
          <a:xfrm>
            <a:off x="6262369" y="1844677"/>
            <a:ext cx="5593081" cy="4537075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961889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916" y="1844677"/>
            <a:ext cx="11517001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633" name="Rectangle 609"/>
          <p:cNvSpPr>
            <a:spLocks noGrp="1" noChangeArrowheads="1"/>
          </p:cNvSpPr>
          <p:nvPr>
            <p:ph type="title"/>
          </p:nvPr>
        </p:nvSpPr>
        <p:spPr bwMode="auto">
          <a:xfrm>
            <a:off x="323916" y="659220"/>
            <a:ext cx="8997657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804095AB-9D68-1B40-800A-149C819C5022}"/>
              </a:ext>
            </a:extLst>
          </p:cNvPr>
          <p:cNvSpPr txBox="1">
            <a:spLocks/>
          </p:cNvSpPr>
          <p:nvPr userDrawn="1"/>
        </p:nvSpPr>
        <p:spPr>
          <a:xfrm>
            <a:off x="6192000" y="6408000"/>
            <a:ext cx="323916" cy="216000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9pPr>
          </a:lstStyle>
          <a:p>
            <a:fld id="{8CE05D97-68A3-4104-A5BF-7DE17E1E0FBF}" type="slidenum">
              <a:rPr lang="en-US" sz="800" b="0" noProof="0" smtClean="0"/>
              <a:pPr/>
              <a:t>‹nº›</a:t>
            </a:fld>
            <a:endParaRPr lang="en-US" sz="800" b="0" noProof="0" dirty="0"/>
          </a:p>
        </p:txBody>
      </p:sp>
      <p:sp>
        <p:nvSpPr>
          <p:cNvPr id="13" name="TextBox 5"/>
          <p:cNvSpPr txBox="1"/>
          <p:nvPr userDrawn="1"/>
        </p:nvSpPr>
        <p:spPr>
          <a:xfrm>
            <a:off x="324000" y="90000"/>
            <a:ext cx="654025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endParaRPr/>
          </a:p>
        </p:txBody>
      </p:sp>
      <p:sp>
        <p:nvSpPr>
          <p:cNvPr id="14" name="TextBox 12"/>
          <p:cNvSpPr txBox="1"/>
          <p:nvPr userDrawn="1"/>
        </p:nvSpPr>
        <p:spPr>
          <a:xfrm>
            <a:off x="8404999" y="201600"/>
            <a:ext cx="3455840" cy="338554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r"/>
            <a:endParaRPr/>
          </a:p>
        </p:txBody>
      </p:sp>
      <p:pic>
        <p:nvPicPr>
          <p:cNvPr id="15" name="Brose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7840" y="540154"/>
            <a:ext cx="1439997" cy="506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>
                    <a:alpha val="0"/>
                  </a:scrgbClr>
                </a:solidFill>
              </a14:hiddenFill>
            </a:ext>
          </a:extLst>
        </p:spPr>
      </p:pic>
      <p:sp>
        <p:nvSpPr>
          <p:cNvPr id="21" name="TextBox 14"/>
          <p:cNvSpPr txBox="1"/>
          <p:nvPr userDrawn="1"/>
        </p:nvSpPr>
        <p:spPr>
          <a:xfrm>
            <a:off x="4644000" y="6408000"/>
            <a:ext cx="1504443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800" b="0" dirty="0"/>
              <a:t>Page:</a:t>
            </a:r>
          </a:p>
        </p:txBody>
      </p:sp>
      <p:sp>
        <p:nvSpPr>
          <p:cNvPr id="22" name="TextBox 22"/>
          <p:cNvSpPr txBox="1"/>
          <p:nvPr userDrawn="1"/>
        </p:nvSpPr>
        <p:spPr>
          <a:xfrm>
            <a:off x="9504000" y="6408000"/>
            <a:ext cx="155994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US" sz="800" b="0" dirty="0"/>
              <a:t>Status:</a:t>
            </a:r>
          </a:p>
        </p:txBody>
      </p:sp>
      <p:sp>
        <p:nvSpPr>
          <p:cNvPr id="26" name="TextBox 23"/>
          <p:cNvSpPr txBox="1"/>
          <p:nvPr userDrawn="1"/>
        </p:nvSpPr>
        <p:spPr>
          <a:xfrm>
            <a:off x="234000" y="6408000"/>
            <a:ext cx="1198554" cy="215444"/>
          </a:xfrm>
          <a:prstGeom prst="rect">
            <a:avLst/>
          </a:prstGeom>
          <a:noFill/>
        </p:spPr>
        <p:txBody>
          <a:bodyPr wrap="none" lIns="90000" rIns="0" rtlCol="0">
            <a:spAutoFit/>
          </a:bodyPr>
          <a:lstStyle/>
          <a:p>
            <a:pPr algn="l"/>
            <a:r>
              <a:rPr lang="en-US" sz="800" b="0" dirty="0"/>
              <a:t>Issuer:</a:t>
            </a:r>
          </a:p>
        </p:txBody>
      </p:sp>
      <p:sp>
        <p:nvSpPr>
          <p:cNvPr id="28" name="TextBox 24"/>
          <p:cNvSpPr txBox="1"/>
          <p:nvPr userDrawn="1"/>
        </p:nvSpPr>
        <p:spPr>
          <a:xfrm>
            <a:off x="234000" y="6559200"/>
            <a:ext cx="1205853" cy="215444"/>
          </a:xfrm>
          <a:prstGeom prst="rect">
            <a:avLst/>
          </a:prstGeom>
          <a:noFill/>
        </p:spPr>
        <p:txBody>
          <a:bodyPr wrap="square" lIns="90000" rIns="90000" rtlCol="0">
            <a:spAutoFit/>
          </a:bodyPr>
          <a:lstStyle/>
          <a:p>
            <a:pPr algn="l"/>
            <a:r>
              <a:rPr lang="en-US" sz="800" b="0" dirty="0"/>
              <a:t>Source:</a:t>
            </a:r>
          </a:p>
        </p:txBody>
      </p:sp>
      <p:sp>
        <p:nvSpPr>
          <p:cNvPr id="29" name="txtBroseFileName"/>
          <p:cNvSpPr txBox="1"/>
          <p:nvPr userDrawn="1"/>
        </p:nvSpPr>
        <p:spPr>
          <a:xfrm>
            <a:off x="1296000" y="6559200"/>
            <a:ext cx="10080000" cy="215444"/>
          </a:xfrm>
          <a:prstGeom prst="rect">
            <a:avLst/>
          </a:prstGeom>
          <a:noFill/>
        </p:spPr>
        <p:txBody>
          <a:bodyPr wrap="square" lIns="90000" rIns="90000" rtlCol="0">
            <a:spAutoFit/>
          </a:bodyPr>
          <a:lstStyle/>
          <a:p>
            <a:pPr algn="l"/>
            <a:r>
              <a:rPr lang="en-US" sz="800" b="0"/>
              <a:t>Innovation Projects - Project Charter - step 3.pptx</a:t>
            </a:r>
            <a:endParaRPr lang="en-US" sz="800" b="0" dirty="0"/>
          </a:p>
        </p:txBody>
      </p:sp>
      <p:sp>
        <p:nvSpPr>
          <p:cNvPr id="31" name="txtBroseUser"/>
          <p:cNvSpPr txBox="1"/>
          <p:nvPr userDrawn="1"/>
        </p:nvSpPr>
        <p:spPr>
          <a:xfrm>
            <a:off x="1296000" y="6408000"/>
            <a:ext cx="3180484" cy="215444"/>
          </a:xfrm>
          <a:prstGeom prst="rect">
            <a:avLst/>
          </a:prstGeom>
          <a:noFill/>
        </p:spPr>
        <p:txBody>
          <a:bodyPr wrap="square" lIns="90000" rIns="90000" rtlCol="0">
            <a:spAutoFit/>
          </a:bodyPr>
          <a:lstStyle/>
          <a:p>
            <a:pPr algn="l"/>
            <a:r>
              <a:rPr lang="en-US" sz="800" b="0" dirty="0"/>
              <a:t>BR/TG1-EW/Schereiber, Bruna</a:t>
            </a:r>
          </a:p>
        </p:txBody>
      </p:sp>
      <p:sp>
        <p:nvSpPr>
          <p:cNvPr id="32" name="txtBroseSaveDate"/>
          <p:cNvSpPr txBox="1">
            <a:spLocks/>
          </p:cNvSpPr>
          <p:nvPr userDrawn="1"/>
        </p:nvSpPr>
        <p:spPr>
          <a:xfrm>
            <a:off x="11052000" y="6408000"/>
            <a:ext cx="1080000" cy="2156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Univers" pitchFamily="34" charset="0"/>
                <a:ea typeface="+mn-ea"/>
                <a:cs typeface="+mn-cs"/>
              </a:defRPr>
            </a:lvl9pPr>
          </a:lstStyle>
          <a:p>
            <a:r>
              <a:rPr lang="en-US" sz="800" b="0"/>
              <a:t>20. abr. 2023</a:t>
            </a:r>
            <a:endParaRPr lang="en-US" sz="800" b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5" r:id="rId4"/>
    <p:sldLayoutId id="2147483656" r:id="rId5"/>
    <p:sldLayoutId id="2147483654" r:id="rId6"/>
    <p:sldLayoutId id="2147483652" r:id="rId7"/>
  </p:sldLayoutIdLst>
  <p:transition spd="med">
    <p:wipe dir="r"/>
  </p:transition>
  <p:hf/>
  <p:txStyles>
    <p:titleStyle>
      <a:lvl1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anose="020B0603020202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5pPr>
      <a:lvl6pPr marL="45706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6pPr>
      <a:lvl7pPr marL="91412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7pPr>
      <a:lvl8pPr marL="1371189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8pPr>
      <a:lvl9pPr marL="182825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Univers" pitchFamily="34" charset="0"/>
        </a:defRPr>
      </a:lvl9pPr>
    </p:titleStyle>
    <p:bodyStyle>
      <a:lvl1pPr marL="1" indent="0" algn="l" rtl="0" eaLnBrk="1" fontAlgn="base" hangingPunct="1">
        <a:spcBef>
          <a:spcPts val="300"/>
        </a:spcBef>
        <a:spcAft>
          <a:spcPct val="0"/>
        </a:spcAft>
        <a:buFontTx/>
        <a:buNone/>
        <a:defRPr sz="1600" b="0">
          <a:solidFill>
            <a:schemeClr val="tx1"/>
          </a:solidFill>
          <a:latin typeface="Univers" panose="020B0603020202030204" pitchFamily="34" charset="0"/>
          <a:ea typeface="+mn-ea"/>
          <a:cs typeface="+mn-cs"/>
        </a:defRPr>
      </a:lvl1pPr>
      <a:lvl2pPr marL="179946" indent="-179946" algn="l" rtl="0" eaLnBrk="1" fontAlgn="base" hangingPunct="1">
        <a:spcBef>
          <a:spcPts val="30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Univers" panose="020B0603020202030204" pitchFamily="34" charset="0"/>
        </a:defRPr>
      </a:lvl2pPr>
      <a:lvl3pPr marL="539838" indent="-179946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000000"/>
        </a:buClr>
        <a:buSzPct val="100000"/>
        <a:buFont typeface="Symbol" panose="05050102010706020507" pitchFamily="18" charset="2"/>
        <a:buChar char="-"/>
        <a:defRPr lang="de-DE" altLang="de-DE" sz="1600" b="0" i="0" u="none" baseline="0" dirty="0" smtClean="0">
          <a:solidFill>
            <a:srgbClr val="000000"/>
          </a:solidFill>
          <a:latin typeface="Univers" panose="020B0603020202030204" pitchFamily="34" charset="0"/>
        </a:defRPr>
      </a:lvl3pPr>
      <a:lvl4pPr marL="1079676" indent="-179946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000000"/>
        </a:buClr>
        <a:buSzPct val="100000"/>
        <a:buFont typeface="Wingdings" panose="05000000000000000000" pitchFamily="2" charset="2"/>
        <a:buChar char="§"/>
        <a:defRPr lang="de-DE" altLang="de-DE" sz="1400" b="0" i="0" u="none" baseline="0" dirty="0" smtClean="0">
          <a:solidFill>
            <a:srgbClr val="000000"/>
          </a:solidFill>
          <a:latin typeface="Univers" panose="020B0603020202030204" pitchFamily="34" charset="0"/>
        </a:defRPr>
      </a:lvl4pPr>
      <a:lvl5pPr marL="1619514" indent="-179946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000000"/>
        </a:buClr>
        <a:buSzPct val="100000"/>
        <a:buFont typeface="Symbol" panose="05050102010706020507" pitchFamily="18" charset="2"/>
        <a:buChar char="-"/>
        <a:defRPr lang="de-DE" altLang="de-DE" sz="1200" b="0" i="0" u="none" baseline="0" dirty="0" smtClean="0">
          <a:solidFill>
            <a:srgbClr val="000000"/>
          </a:solidFill>
          <a:latin typeface="Univers" panose="020B0603020202030204" pitchFamily="34" charset="0"/>
        </a:defRPr>
      </a:lvl5pPr>
      <a:lvl6pPr marL="1619514" indent="-179946" algn="l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</a:defRPr>
      </a:lvl6pPr>
      <a:lvl7pPr marL="1619514" indent="-179946" algn="l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</a:defRPr>
      </a:lvl7pPr>
      <a:lvl8pPr marL="1619514" indent="-179946" algn="l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</a:defRPr>
      </a:lvl8pPr>
      <a:lvl9pPr marL="1619514" indent="-179946" algn="l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orient="horz" pos="1162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12" userDrawn="1">
          <p15:clr>
            <a:srgbClr val="F26B43"/>
          </p15:clr>
        </p15:guide>
        <p15:guide id="5" pos="7468" userDrawn="1">
          <p15:clr>
            <a:srgbClr val="F26B43"/>
          </p15:clr>
        </p15:guide>
        <p15:guide id="6" pos="6561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4021" userDrawn="1">
          <p15:clr>
            <a:srgbClr val="F26B43"/>
          </p15:clr>
        </p15:guide>
        <p15:guide id="9" pos="36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box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de-DE" dirty="0"/>
              <a:t>Innovation Projects</a:t>
            </a:r>
            <a:br>
              <a:rPr lang="en-US" altLang="de-DE" dirty="0"/>
            </a:br>
            <a:r>
              <a:rPr lang="en-US" altLang="de-DE" dirty="0"/>
              <a:t>Project Charter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1FA8E42-E8D3-460D-817F-4AA156F07A02}"/>
              </a:ext>
            </a:extLst>
          </p:cNvPr>
          <p:cNvSpPr txBox="1"/>
          <p:nvPr/>
        </p:nvSpPr>
        <p:spPr>
          <a:xfrm>
            <a:off x="323916" y="6138000"/>
            <a:ext cx="6019938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de-DE" b="0" dirty="0"/>
              <a:t>Curitiba, Date 13.04.2023</a:t>
            </a:r>
          </a:p>
        </p:txBody>
      </p:sp>
    </p:spTree>
    <p:extLst>
      <p:ext uri="{BB962C8B-B14F-4D97-AF65-F5344CB8AC3E}">
        <p14:creationId xmlns:p14="http://schemas.microsoft.com/office/powerpoint/2010/main" val="999798517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E05B12D-16D1-3207-C267-D0C6A0A5B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Charter</a:t>
            </a:r>
            <a:br>
              <a:rPr lang="en-US" dirty="0"/>
            </a:br>
            <a:r>
              <a:rPr lang="en-US" dirty="0"/>
              <a:t>Step 3</a:t>
            </a:r>
          </a:p>
        </p:txBody>
      </p:sp>
    </p:spTree>
    <p:extLst>
      <p:ext uri="{BB962C8B-B14F-4D97-AF65-F5344CB8AC3E}">
        <p14:creationId xmlns:p14="http://schemas.microsoft.com/office/powerpoint/2010/main" val="1312585981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box"/>
          <p:cNvSpPr>
            <a:spLocks noGrp="1"/>
          </p:cNvSpPr>
          <p:nvPr>
            <p:ph type="ctrTitle"/>
          </p:nvPr>
        </p:nvSpPr>
        <p:spPr>
          <a:xfrm>
            <a:off x="323917" y="1620471"/>
            <a:ext cx="8939611" cy="1166328"/>
          </a:xfrm>
        </p:spPr>
        <p:txBody>
          <a:bodyPr/>
          <a:lstStyle/>
          <a:p>
            <a:r>
              <a:rPr lang="en-US" altLang="de-DE" dirty="0"/>
              <a:t>System supplier of the international</a:t>
            </a:r>
            <a:br>
              <a:rPr lang="en-US" altLang="de-DE" dirty="0"/>
            </a:br>
            <a:r>
              <a:rPr lang="en-US" altLang="de-DE" dirty="0"/>
              <a:t>automotive industr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 bwMode="gray">
          <a:xfrm>
            <a:off x="1" y="-12419"/>
            <a:ext cx="12164832" cy="6838219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1224166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UAGE" val="german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kPGpcMaA1Fp4Ygs+7rvMMFAAAAAAADAAAAAwADAAAAAQADAAAAAAD///////8DAAAAAAD///////8DAAEA////////BAAAAAMAEAALR8rvfjRC5UW+UKPpP5D2v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IkPGpcMaA1Fp4Ygs+7rvMMDRGF0YQAbAAAABExpbmtlZFNoYXBlRGF0YQAFAAAAAAACTmFtZQAZAAAATGlua2VkU2hhcGVzRGF0YVByb3BlcnR5ABBWZXJzaW9uAAAAAAAJTGFzdFdyaXRlANvNvyZ3AQAAAAEA/////50AnQAAAAVfaWQAEAAAAARHyu9+NELlRb5Qo+k/kPa9A0RhdGEAKgAAAAhQcmVzZW50YXRpb25TY2FubmVkRm9yTGlua2VkU2hhcGVzAAEAAk5hbWUAJAAAAExpbmtlZFNoYXBlUHJlc2VudGF0aW9uU2V0dGluZ3NEYXRhABBWZXJzaW9uAAAAAAAJTGFzdFdyaXRlAAzOvyZ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heme/theme1.xml><?xml version="1.0" encoding="utf-8"?>
<a:theme xmlns:a="http://schemas.openxmlformats.org/drawingml/2006/main" name="© Brose - extern">
  <a:themeElements>
    <a:clrScheme name="PowerPoint">
      <a:dk1>
        <a:srgbClr val="000000"/>
      </a:dk1>
      <a:lt1>
        <a:srgbClr val="FFFFFF"/>
      </a:lt1>
      <a:dk2>
        <a:srgbClr val="000000"/>
      </a:dk2>
      <a:lt2>
        <a:srgbClr val="D9D6D1"/>
      </a:lt2>
      <a:accent1>
        <a:srgbClr val="3C7DC8"/>
      </a:accent1>
      <a:accent2>
        <a:srgbClr val="D73C3C"/>
      </a:accent2>
      <a:accent3>
        <a:srgbClr val="46C81E"/>
      </a:accent3>
      <a:accent4>
        <a:srgbClr val="F5AA00"/>
      </a:accent4>
      <a:accent5>
        <a:srgbClr val="FFFF00"/>
      </a:accent5>
      <a:accent6>
        <a:srgbClr val="D2D3D4"/>
      </a:accent6>
      <a:hlink>
        <a:srgbClr val="003E6A"/>
      </a:hlink>
      <a:folHlink>
        <a:srgbClr val="8096B2"/>
      </a:folHlink>
    </a:clrScheme>
    <a:fontScheme name="External1_neu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Univer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de-DE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Univers" pitchFamily="34" charset="0"/>
          </a:defRPr>
        </a:defPPr>
      </a:lstStyle>
    </a:lnDef>
    <a:txDef>
      <a:spPr/>
      <a:bodyPr anchor="ctr"/>
      <a:lstStyle>
        <a:defPPr algn="l">
          <a:defRPr sz="1200" kern="0" dirty="0"/>
        </a:defPPr>
      </a:lstStyle>
    </a:txDef>
  </a:objectDefaults>
  <a:extraClrSchemeLst/>
  <a:custClrLst>
    <a:custClr name="Diagrammfarbe/Chart color">
      <a:srgbClr val="3C7DC8"/>
    </a:custClr>
    <a:custClr name="Diagrammfarbe/Chart color">
      <a:srgbClr val="D73C3C"/>
    </a:custClr>
    <a:custClr name="Diagrammfarbe/Chart color">
      <a:srgbClr val="46C81E"/>
    </a:custClr>
    <a:custClr name="Diagrammfarbe/Chart color">
      <a:srgbClr val="F5AA00"/>
    </a:custClr>
    <a:custClr name="Diagrammfarbe/Chart color">
      <a:srgbClr val="FFFF00"/>
    </a:custClr>
    <a:custClr name="Diagrammfarbe/Chart color">
      <a:srgbClr val="D2D3D4"/>
    </a:custClr>
  </a:custClrLst>
  <a:extLst>
    <a:ext uri="{05A4C25C-085E-4340-85A3-A5531E510DB2}">
      <thm15:themeFamily xmlns:thm15="http://schemas.microsoft.com/office/thememl/2012/main" name="External.potx" id="{94DEE508-0393-4251-99EB-3F98C1FF2C9F}" vid="{1C388F39-05D2-48E7-A616-9CA0D2C5F1D9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A3CC913B07F949AC6ECAE45A5AEA20" ma:contentTypeVersion="14" ma:contentTypeDescription="Create a new document." ma:contentTypeScope="" ma:versionID="814787321c99b6bc445ec65a0c2595dd">
  <xsd:schema xmlns:xsd="http://www.w3.org/2001/XMLSchema" xmlns:xs="http://www.w3.org/2001/XMLSchema" xmlns:p="http://schemas.microsoft.com/office/2006/metadata/properties" xmlns:ns2="905cff04-a472-41e5-a433-46330a8e49f8" xmlns:ns3="22fd9dbb-b096-4b59-a957-cda463880156" targetNamespace="http://schemas.microsoft.com/office/2006/metadata/properties" ma:root="true" ma:fieldsID="53b1e36c13a12fb3ac0c0e9a64309ce2" ns2:_="" ns3:_="">
    <xsd:import namespace="905cff04-a472-41e5-a433-46330a8e49f8"/>
    <xsd:import namespace="22fd9dbb-b096-4b59-a957-cda4638801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5cff04-a472-41e5-a433-46330a8e49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65e0e97c-4968-40d3-a9d9-6b699292d5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fd9dbb-b096-4b59-a957-cda46388015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41492594-a464-4862-bee3-07654ee9035c}" ma:internalName="TaxCatchAll" ma:showField="CatchAllData" ma:web="22fd9dbb-b096-4b59-a957-cda4638801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05cff04-a472-41e5-a433-46330a8e49f8">
      <Terms xmlns="http://schemas.microsoft.com/office/infopath/2007/PartnerControls"/>
    </lcf76f155ced4ddcb4097134ff3c332f>
    <TaxCatchAll xmlns="22fd9dbb-b096-4b59-a957-cda463880156" xsi:nil="true"/>
    <SharedWithUsers xmlns="22fd9dbb-b096-4b59-a957-cda463880156">
      <UserInfo>
        <DisplayName>Reydams, Marc</DisplayName>
        <AccountId>1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1773081-2E24-4C3C-89A5-5EC2AF41E2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1B4E84-BC93-4C83-93BB-BD03DA08CFCB}">
  <ds:schemaRefs>
    <ds:schemaRef ds:uri="22fd9dbb-b096-4b59-a957-cda463880156"/>
    <ds:schemaRef ds:uri="905cff04-a472-41e5-a433-46330a8e49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971E7D-6DF3-4DFA-9DDD-4C1449379FFA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purl.org/dc/elements/1.1/"/>
    <ds:schemaRef ds:uri="http://schemas.microsoft.com/office/infopath/2007/PartnerControls"/>
    <ds:schemaRef ds:uri="22fd9dbb-b096-4b59-a957-cda463880156"/>
    <ds:schemaRef ds:uri="905cff04-a472-41e5-a433-46330a8e49f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b3f7e1f-841c-4f3d-8bd0-2df37862e987</Template>
  <TotalTime>0</TotalTime>
  <Words>70</Words>
  <Application>Microsoft Office PowerPoint</Application>
  <PresentationFormat>Widescreen</PresentationFormat>
  <Paragraphs>21</Paragraphs>
  <Slides>3</Slides>
  <Notes>1</Notes>
  <HiddenSlides>0</HiddenSlides>
  <MMClips>0</MMClips>
  <ScaleCrop>false</ScaleCrop>
  <HeadingPairs>
    <vt:vector size="6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8" baseType="lpstr">
      <vt:lpstr>Arial</vt:lpstr>
      <vt:lpstr>Symbol</vt:lpstr>
      <vt:lpstr>Univers</vt:lpstr>
      <vt:lpstr>Wingdings</vt:lpstr>
      <vt:lpstr>© Brose - extern</vt:lpstr>
      <vt:lpstr>Innovation Projects Project Charter</vt:lpstr>
      <vt:lpstr>Project Charter Step 3</vt:lpstr>
      <vt:lpstr>System supplier of the international automotive industry</vt:lpstr>
    </vt:vector>
  </TitlesOfParts>
  <Manager>Ament, Tim#amentti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tion Projects Project Charter</dc:title>
  <dc:subject/>
  <dc:creator>Schereiber, Bruna</dc:creator>
  <cp:lastModifiedBy>Schereiber, Bruna</cp:lastModifiedBy>
  <cp:revision>2</cp:revision>
  <dcterms:created xsi:type="dcterms:W3CDTF">2023-04-13T15:47:43Z</dcterms:created>
  <dcterms:modified xsi:type="dcterms:W3CDTF">2023-04-20T14:4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age(s)">
    <vt:lpwstr>1</vt:lpwstr>
  </property>
  <property fmtid="{D5CDD505-2E9C-101B-9397-08002B2CF9AE}" pid="3" name="PageCount">
    <vt:lpwstr>1</vt:lpwstr>
  </property>
  <property fmtid="{D5CDD505-2E9C-101B-9397-08002B2CF9AE}" pid="4" name="RedLogo">
    <vt:lpwstr>yes</vt:lpwstr>
  </property>
  <property fmtid="{D5CDD505-2E9C-101B-9397-08002B2CF9AE}" pid="5" name="LanguageID">
    <vt:lpwstr>1031</vt:lpwstr>
  </property>
  <property fmtid="{D5CDD505-2E9C-101B-9397-08002B2CF9AE}" pid="6" name="CreateDateActive">
    <vt:lpwstr>yes</vt:lpwstr>
  </property>
  <property fmtid="{D5CDD505-2E9C-101B-9397-08002B2CF9AE}" pid="7" name="tw_title">
    <vt:lpwstr/>
  </property>
  <property fmtid="{D5CDD505-2E9C-101B-9397-08002B2CF9AE}" pid="8" name="tw_theme">
    <vt:lpwstr/>
  </property>
  <property fmtid="{D5CDD505-2E9C-101B-9397-08002B2CF9AE}" pid="9" name="tw_company">
    <vt:lpwstr/>
  </property>
  <property fmtid="{D5CDD505-2E9C-101B-9397-08002B2CF9AE}" pid="10" name="tw_unit">
    <vt:lpwstr/>
  </property>
  <property fmtid="{D5CDD505-2E9C-101B-9397-08002B2CF9AE}" pid="11" name="tw_speaker">
    <vt:lpwstr/>
  </property>
  <property fmtid="{D5CDD505-2E9C-101B-9397-08002B2CF9AE}" pid="12" name="tw_function">
    <vt:lpwstr/>
  </property>
  <property fmtid="{D5CDD505-2E9C-101B-9397-08002B2CF9AE}" pid="13" name="tw_location">
    <vt:lpwstr/>
  </property>
  <property fmtid="{D5CDD505-2E9C-101B-9397-08002B2CF9AE}" pid="14" name="tw_date">
    <vt:lpwstr/>
  </property>
  <property fmtid="{D5CDD505-2E9C-101B-9397-08002B2CF9AE}" pid="15" name="sysIndex">
    <vt:lpwstr>212</vt:lpwstr>
  </property>
  <property fmtid="{D5CDD505-2E9C-101B-9397-08002B2CF9AE}" pid="16" name="sysVersion">
    <vt:lpwstr>2.0</vt:lpwstr>
  </property>
  <property fmtid="{D5CDD505-2E9C-101B-9397-08002B2CF9AE}" pid="17" name="sysCurrentUsername">
    <vt:lpwstr>Schereiber, Bruna</vt:lpwstr>
  </property>
  <property fmtid="{D5CDD505-2E9C-101B-9397-08002B2CF9AE}" pid="18" name="sysCurrentUserFunction">
    <vt:lpwstr>BR/TG1-EW</vt:lpwstr>
  </property>
  <property fmtid="{D5CDD505-2E9C-101B-9397-08002B2CF9AE}" pid="19" name="sysManager">
    <vt:lpwstr>Ament, Tim#amentti</vt:lpwstr>
  </property>
  <property fmtid="{D5CDD505-2E9C-101B-9397-08002B2CF9AE}" pid="20" name="Document Number">
    <vt:lpwstr>PO-10043</vt:lpwstr>
  </property>
  <property fmtid="{D5CDD505-2E9C-101B-9397-08002B2CF9AE}" pid="21" name="sysCurrentUserLocation">
    <vt:lpwstr>CUR</vt:lpwstr>
  </property>
  <property fmtid="{D5CDD505-2E9C-101B-9397-08002B2CF9AE}" pid="22" name="ContentTypeId">
    <vt:lpwstr>0x010100CAA3CC913B07F949AC6ECAE45A5AEA20</vt:lpwstr>
  </property>
  <property fmtid="{D5CDD505-2E9C-101B-9397-08002B2CF9AE}" pid="23" name="MediaServiceImageTags">
    <vt:lpwstr/>
  </property>
</Properties>
</file>